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ags/tag1.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24" r:id="rId2"/>
    <p:sldMasterId id="2147483784" r:id="rId3"/>
  </p:sldMasterIdLst>
  <p:notesMasterIdLst>
    <p:notesMasterId r:id="rId22"/>
  </p:notesMasterIdLst>
  <p:sldIdLst>
    <p:sldId id="2147469752" r:id="rId4"/>
    <p:sldId id="2147474128" r:id="rId5"/>
    <p:sldId id="804" r:id="rId6"/>
    <p:sldId id="2147374449" r:id="rId7"/>
    <p:sldId id="467" r:id="rId8"/>
    <p:sldId id="2147469755" r:id="rId9"/>
    <p:sldId id="2147469756" r:id="rId10"/>
    <p:sldId id="2147469764" r:id="rId11"/>
    <p:sldId id="2147469757" r:id="rId12"/>
    <p:sldId id="2147469765" r:id="rId13"/>
    <p:sldId id="2147469758" r:id="rId14"/>
    <p:sldId id="2147469767" r:id="rId15"/>
    <p:sldId id="2147469766" r:id="rId16"/>
    <p:sldId id="2147469768" r:id="rId17"/>
    <p:sldId id="2147469769" r:id="rId18"/>
    <p:sldId id="2147469759" r:id="rId19"/>
    <p:sldId id="2147469771" r:id="rId20"/>
    <p:sldId id="45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0F78F8A-E36D-46CC-9B73-5382BE4F0E03}" v="9" dt="2024-08-07T14:41:02.018"/>
    <p1510:client id="{95DF3E50-EBE7-408D-89E2-DF6322FEF1F6}" v="28" dt="2024-08-07T12:06:24.4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showGuides="1">
      <p:cViewPr varScale="1">
        <p:scale>
          <a:sx n="62" d="100"/>
          <a:sy n="62" d="100"/>
        </p:scale>
        <p:origin x="360" y="31"/>
      </p:cViewPr>
      <p:guideLst>
        <p:guide orient="horz" pos="218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B0913B-7C3E-4E9B-9247-DB04EA442050}" type="datetimeFigureOut">
              <a:rPr lang="en-US" smtClean="0"/>
              <a:t>8/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5E9870-F261-41F7-8626-2244C19A86E2}" type="slidenum">
              <a:rPr lang="en-US" smtClean="0"/>
              <a:t>‹#›</a:t>
            </a:fld>
            <a:endParaRPr lang="en-US"/>
          </a:p>
        </p:txBody>
      </p:sp>
    </p:spTree>
    <p:extLst>
      <p:ext uri="{BB962C8B-B14F-4D97-AF65-F5344CB8AC3E}">
        <p14:creationId xmlns:p14="http://schemas.microsoft.com/office/powerpoint/2010/main" val="41105745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032153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7363" y="733425"/>
            <a:ext cx="6502400" cy="36576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42334"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24233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a:extLst>
              <a:ext uri="{FF2B5EF4-FFF2-40B4-BE49-F238E27FC236}">
                <a16:creationId xmlns:a16="http://schemas.microsoft.com/office/drawing/2014/main" id="{FA287AE0-C02C-49CB-83E8-C4FF708EDD5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36301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7363" y="733425"/>
            <a:ext cx="6502400" cy="36576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42334"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24233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a:extLst>
              <a:ext uri="{FF2B5EF4-FFF2-40B4-BE49-F238E27FC236}">
                <a16:creationId xmlns:a16="http://schemas.microsoft.com/office/drawing/2014/main" id="{FA287AE0-C02C-49CB-83E8-C4FF708EDD5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7233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970734" y="8830658"/>
            <a:ext cx="3038145" cy="465742"/>
          </a:xfrm>
          <a:prstGeom prst="rect">
            <a:avLst/>
          </a:prstGeo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1FEB637-BC42-497E-9119-65CA0380A6E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1713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56954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831859-FC7F-4297-991B-17BB8168A6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27916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7363" y="733425"/>
            <a:ext cx="6502400" cy="36576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1242334"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124233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 name="Footer Placeholder 4">
            <a:extLst>
              <a:ext uri="{FF2B5EF4-FFF2-40B4-BE49-F238E27FC236}">
                <a16:creationId xmlns:a16="http://schemas.microsoft.com/office/drawing/2014/main" id="{FA287AE0-C02C-49CB-83E8-C4FF708EDD57}"/>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70556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831859-FC7F-4297-991B-17BB8168A6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3237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831859-FC7F-4297-991B-17BB8168A6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01800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831859-FC7F-4297-991B-17BB8168A6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85050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831859-FC7F-4297-991B-17BB8168A6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45909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831859-FC7F-4297-991B-17BB8168A64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71876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01651" y="6381750"/>
            <a:ext cx="5594349" cy="298450"/>
          </a:xfrm>
          <a:prstGeom prst="rect">
            <a:avLst/>
          </a:prstGeom>
        </p:spPr>
        <p:txBody>
          <a:bodyPr>
            <a:normAutofit/>
          </a:bodyPr>
          <a:lstStyle>
            <a:lvl1pPr>
              <a:spcAft>
                <a:spcPts val="0"/>
              </a:spcAft>
              <a:defRPr sz="1600" baseline="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Expression of interest for the audit of Niche Cocoa Industry Limited</a:t>
            </a:r>
          </a:p>
        </p:txBody>
      </p:sp>
      <p:grpSp>
        <p:nvGrpSpPr>
          <p:cNvPr id="20" name="Group 19">
            <a:extLst>
              <a:ext uri="{FF2B5EF4-FFF2-40B4-BE49-F238E27FC236}">
                <a16:creationId xmlns:a16="http://schemas.microsoft.com/office/drawing/2014/main" id="{9D1F7F6B-6044-472B-B619-4FEEF1F78AA1}"/>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B889E002-34AD-4701-9F90-EFD0441E9BE3}"/>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ABED16C3-76FA-44C9-8CC1-7DFD8E0FF32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3949F9E3-6327-4BB6-B9BC-A07E83505B9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8DD3F9FA-4725-43EE-B716-E44591BB425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49664B9F-B709-4EC2-8CF4-B7E24B22F5E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37EE147-63A9-435E-BCD1-268B927E4035}"/>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43953CB0-819C-40A0-9017-8AB2E807E75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0B9E1F25-E75E-413F-ACF9-B1A0804AEEF6}"/>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8D34FB9B-32D1-43E2-8F3A-08B9A506E90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EADCBC55-5598-407D-8D0E-CEBA53C6DDC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1" name="Picture Placeholder 8">
            <a:extLst>
              <a:ext uri="{FF2B5EF4-FFF2-40B4-BE49-F238E27FC236}">
                <a16:creationId xmlns:a16="http://schemas.microsoft.com/office/drawing/2014/main" id="{1F80D3C8-DAD6-43A0-8850-13470A6A3B80}"/>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2" name="Title 1">
            <a:extLst>
              <a:ext uri="{FF2B5EF4-FFF2-40B4-BE49-F238E27FC236}">
                <a16:creationId xmlns:a16="http://schemas.microsoft.com/office/drawing/2014/main" id="{AB225DA3-4F29-4D7F-B8F2-BF1EB9A74C1B}"/>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dirty="0"/>
              <a:t>Click to edit Master title style</a:t>
            </a:r>
          </a:p>
        </p:txBody>
      </p:sp>
    </p:spTree>
    <p:extLst>
      <p:ext uri="{BB962C8B-B14F-4D97-AF65-F5344CB8AC3E}">
        <p14:creationId xmlns:p14="http://schemas.microsoft.com/office/powerpoint/2010/main" val="139918436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TextBox 7">
            <a:extLst>
              <a:ext uri="{FF2B5EF4-FFF2-40B4-BE49-F238E27FC236}">
                <a16:creationId xmlns:a16="http://schemas.microsoft.com/office/drawing/2014/main" id="{E14B48C6-A62B-4E4A-BEBD-DBC7B13FBDA5}"/>
              </a:ext>
            </a:extLst>
          </p:cNvPr>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94140569"/>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
        <p:nvSpPr>
          <p:cNvPr id="8" name="TextBox 7">
            <a:extLst>
              <a:ext uri="{FF2B5EF4-FFF2-40B4-BE49-F238E27FC236}">
                <a16:creationId xmlns:a16="http://schemas.microsoft.com/office/drawing/2014/main" id="{C764A1B9-9F97-4535-8A4A-8B7855E21172}"/>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BF5A34BC-21E7-48A1-9F83-CEACD4B0D64C}"/>
              </a:ext>
            </a:extLst>
          </p:cNvPr>
          <p:cNvSpPr txBox="1"/>
          <p:nvPr userDrawn="1"/>
        </p:nvSpPr>
        <p:spPr>
          <a:xfrm>
            <a:off x="488710" y="6474853"/>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 2022. Copyright. All Rights Reserved. For more information,</a:t>
            </a:r>
            <a:r>
              <a:rPr lang="en-US" sz="900" baseline="0" noProof="0">
                <a:solidFill>
                  <a:schemeClr val="bg1"/>
                </a:solidFill>
                <a:latin typeface="Calibri" panose="020F0502020204030204" pitchFamily="34" charset="0"/>
                <a:cs typeface="Calibri" panose="020F0502020204030204" pitchFamily="34" charset="0"/>
              </a:rPr>
              <a:t> contact </a:t>
            </a:r>
            <a:r>
              <a:rPr lang="en-US" sz="900" noProof="0">
                <a:solidFill>
                  <a:schemeClr val="bg1"/>
                </a:solidFill>
                <a:latin typeface="Calibri" panose="020F0502020204030204" pitchFamily="34" charset="0"/>
                <a:cs typeface="Calibri" panose="020F0502020204030204" pitchFamily="34" charset="0"/>
              </a:rPr>
              <a:t>Deloitte Ghana</a:t>
            </a:r>
          </a:p>
        </p:txBody>
      </p:sp>
      <p:sp>
        <p:nvSpPr>
          <p:cNvPr id="11" name="TextBox 10">
            <a:extLst>
              <a:ext uri="{FF2B5EF4-FFF2-40B4-BE49-F238E27FC236}">
                <a16:creationId xmlns:a16="http://schemas.microsoft.com/office/drawing/2014/main" id="{18FDA250-7EA1-4051-9ED3-DD68159AD118}"/>
              </a:ext>
            </a:extLst>
          </p:cNvPr>
          <p:cNvSpPr txBox="1"/>
          <p:nvPr userDrawn="1"/>
        </p:nvSpPr>
        <p:spPr>
          <a:xfrm>
            <a:off x="7009585" y="6474853"/>
            <a:ext cx="4395992" cy="138499"/>
          </a:xfrm>
          <a:prstGeom prst="rect">
            <a:avLst/>
          </a:prstGeom>
          <a:noFill/>
        </p:spPr>
        <p:txBody>
          <a:bodyPr wrap="square" lIns="0" tIns="0" rIns="0" bIns="0" rtlCol="0">
            <a:spAutoFit/>
          </a:bodyPr>
          <a:lstStyle/>
          <a:p>
            <a:pPr marL="0" indent="0" algn="r">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PAN African Savings &amp; Loan</a:t>
            </a:r>
          </a:p>
        </p:txBody>
      </p:sp>
      <p:sp>
        <p:nvSpPr>
          <p:cNvPr id="2" name="Rectangle 1">
            <a:extLst>
              <a:ext uri="{FF2B5EF4-FFF2-40B4-BE49-F238E27FC236}">
                <a16:creationId xmlns:a16="http://schemas.microsoft.com/office/drawing/2014/main" id="{FFCE8028-673A-4C9C-8388-27022DB64BCE}"/>
              </a:ext>
            </a:extLst>
          </p:cNvPr>
          <p:cNvSpPr/>
          <p:nvPr userDrawn="1"/>
        </p:nvSpPr>
        <p:spPr bwMode="gray">
          <a:xfrm>
            <a:off x="0" y="0"/>
            <a:ext cx="12192000" cy="6858000"/>
          </a:xfrm>
          <a:prstGeom prst="rect">
            <a:avLst/>
          </a:prstGeom>
          <a:solidFill>
            <a:schemeClr val="accent2"/>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endParaRPr>
          </a:p>
        </p:txBody>
      </p:sp>
      <p:sp>
        <p:nvSpPr>
          <p:cNvPr id="7" name="TextBox 6">
            <a:extLst>
              <a:ext uri="{FF2B5EF4-FFF2-40B4-BE49-F238E27FC236}">
                <a16:creationId xmlns:a16="http://schemas.microsoft.com/office/drawing/2014/main" id="{73CB5C45-5976-4C55-A6DD-3F152B12380C}"/>
              </a:ext>
            </a:extLst>
          </p:cNvPr>
          <p:cNvSpPr txBox="1"/>
          <p:nvPr userDrawn="1"/>
        </p:nvSpPr>
        <p:spPr>
          <a:xfrm>
            <a:off x="11382375" y="6476997"/>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3AD06455-DD72-B009-89BF-D0D0A99BE983}"/>
              </a:ext>
            </a:extLst>
          </p:cNvPr>
          <p:cNvSpPr txBox="1"/>
          <p:nvPr userDrawn="1"/>
        </p:nvSpPr>
        <p:spPr>
          <a:xfrm>
            <a:off x="347662" y="6634206"/>
            <a:ext cx="11188700"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3. Copyright. All Rights Reserved. For more information,</a:t>
            </a:r>
            <a:r>
              <a:rPr lang="en-US" sz="900" baseline="0" noProof="0">
                <a:solidFill>
                  <a:schemeClr val="tx1"/>
                </a:solidFill>
                <a:latin typeface="Calibri" panose="020F0502020204030204" pitchFamily="34" charset="0"/>
                <a:cs typeface="Calibri" panose="020F0502020204030204" pitchFamily="34" charset="0"/>
              </a:rPr>
              <a:t> contact </a:t>
            </a:r>
            <a:r>
              <a:rPr lang="en-US" sz="900" noProof="0">
                <a:solidFill>
                  <a:schemeClr val="tx1"/>
                </a:solidFill>
                <a:latin typeface="Calibri" panose="020F0502020204030204" pitchFamily="34" charset="0"/>
                <a:cs typeface="Calibri" panose="020F0502020204030204" pitchFamily="34" charset="0"/>
              </a:rPr>
              <a:t>Deloitte Ghana                                                                                                                                                                                                   </a:t>
            </a:r>
            <a:r>
              <a:rPr lang="en-US" sz="900"/>
              <a:t>DSOT| Tax and Regulatory Workshop for NGOs</a:t>
            </a:r>
            <a:r>
              <a:rPr lang="en-US" sz="900" noProof="0">
                <a:solidFill>
                  <a:schemeClr val="tx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52877097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5490352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39198834"/>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91879251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48993099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674826421"/>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97885174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091970781"/>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3581091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100965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dirty="0"/>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30617647"/>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9538983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79768541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19832119"/>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791846538"/>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162910986"/>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63674799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Tree>
    <p:extLst>
      <p:ext uri="{BB962C8B-B14F-4D97-AF65-F5344CB8AC3E}">
        <p14:creationId xmlns:p14="http://schemas.microsoft.com/office/powerpoint/2010/main" val="200833006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a:solidFill>
                  <a:schemeClr val="bg1"/>
                </a:solidFill>
              </a:rPr>
              <a:t>Co-brand</a:t>
            </a:r>
            <a:br>
              <a:rPr lang="en-US" sz="1600" noProof="0">
                <a:solidFill>
                  <a:schemeClr val="bg1"/>
                </a:solidFill>
              </a:rPr>
            </a:br>
            <a:r>
              <a:rPr lang="en-US" sz="1600" noProof="0">
                <a:solidFill>
                  <a:schemeClr val="bg1"/>
                </a:solidFill>
              </a:rPr>
              <a:t>Logo</a:t>
            </a:r>
          </a:p>
          <a:p>
            <a:endParaRPr lang="en-US" noProof="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81662712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101670151"/>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32599034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17150019"/>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569826217"/>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9230775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End slide">
    <p:bg>
      <p:bgPr>
        <a:solidFill>
          <a:schemeClr val="tx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42709ED3-84FD-4AF8-92AD-CD005917B5F3}"/>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1F1E0114-F0A7-467B-8A1A-C9A59C2AA2E0}"/>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a:extLst>
                <a:ext uri="{FF2B5EF4-FFF2-40B4-BE49-F238E27FC236}">
                  <a16:creationId xmlns:a16="http://schemas.microsoft.com/office/drawing/2014/main" id="{A8FCE242-F1D4-4297-8428-C83E0124989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a:extLst>
                <a:ext uri="{FF2B5EF4-FFF2-40B4-BE49-F238E27FC236}">
                  <a16:creationId xmlns:a16="http://schemas.microsoft.com/office/drawing/2014/main" id="{597DD4B4-42AB-452A-A6D6-A8FD20B67557}"/>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a:extLst>
                <a:ext uri="{FF2B5EF4-FFF2-40B4-BE49-F238E27FC236}">
                  <a16:creationId xmlns:a16="http://schemas.microsoft.com/office/drawing/2014/main" id="{CAD1AAB6-7E99-4C8E-B4C5-BDE096522D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a:extLst>
                <a:ext uri="{FF2B5EF4-FFF2-40B4-BE49-F238E27FC236}">
                  <a16:creationId xmlns:a16="http://schemas.microsoft.com/office/drawing/2014/main" id="{7910799C-DC81-4B0E-ADDD-5E686F39AF7D}"/>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a:extLst>
                <a:ext uri="{FF2B5EF4-FFF2-40B4-BE49-F238E27FC236}">
                  <a16:creationId xmlns:a16="http://schemas.microsoft.com/office/drawing/2014/main" id="{199BCC0F-2DCD-4F3F-8BE6-577A494B1596}"/>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a:extLst>
                <a:ext uri="{FF2B5EF4-FFF2-40B4-BE49-F238E27FC236}">
                  <a16:creationId xmlns:a16="http://schemas.microsoft.com/office/drawing/2014/main" id="{5D7D2CB3-5327-4C8E-B736-C34180802BA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a:extLst>
                <a:ext uri="{FF2B5EF4-FFF2-40B4-BE49-F238E27FC236}">
                  <a16:creationId xmlns:a16="http://schemas.microsoft.com/office/drawing/2014/main" id="{9A1B8BFD-4FD1-4E20-90DA-ED1431F44A4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a:extLst>
                <a:ext uri="{FF2B5EF4-FFF2-40B4-BE49-F238E27FC236}">
                  <a16:creationId xmlns:a16="http://schemas.microsoft.com/office/drawing/2014/main" id="{287FC850-A3B0-49E6-B45F-D82F1736743F}"/>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a:extLst>
                <a:ext uri="{FF2B5EF4-FFF2-40B4-BE49-F238E27FC236}">
                  <a16:creationId xmlns:a16="http://schemas.microsoft.com/office/drawing/2014/main" id="{03A54152-E7D9-47BA-81F0-736C9BC5E98D}"/>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2" name="Text Box 15"/>
          <p:cNvSpPr txBox="1">
            <a:spLocks noChangeArrowheads="1"/>
          </p:cNvSpPr>
          <p:nvPr userDrawn="1"/>
        </p:nvSpPr>
        <p:spPr bwMode="auto">
          <a:xfrm>
            <a:off x="406913" y="3832717"/>
            <a:ext cx="6887739" cy="2572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8277" tIns="29138" rIns="58277" bIns="29138">
            <a:spAutoFit/>
          </a:bodyPr>
          <a:lstStyle>
            <a:lvl1pPr defTabSz="1016000" eaLnBrk="0" hangingPunct="0">
              <a:defRPr sz="2000">
                <a:solidFill>
                  <a:schemeClr val="tx1"/>
                </a:solidFill>
                <a:latin typeface="Arial" charset="0"/>
                <a:cs typeface="Arial" charset="0"/>
              </a:defRPr>
            </a:lvl1pPr>
            <a:lvl2pPr marL="742950" indent="-285750" defTabSz="1016000" eaLnBrk="0" hangingPunct="0">
              <a:defRPr sz="2000">
                <a:solidFill>
                  <a:schemeClr val="tx1"/>
                </a:solidFill>
                <a:latin typeface="Arial" charset="0"/>
                <a:cs typeface="Arial" charset="0"/>
              </a:defRPr>
            </a:lvl2pPr>
            <a:lvl3pPr marL="1143000" indent="-228600" defTabSz="1016000" eaLnBrk="0" hangingPunct="0">
              <a:defRPr sz="2000">
                <a:solidFill>
                  <a:schemeClr val="tx1"/>
                </a:solidFill>
                <a:latin typeface="Arial" charset="0"/>
                <a:cs typeface="Arial" charset="0"/>
              </a:defRPr>
            </a:lvl3pPr>
            <a:lvl4pPr marL="1600200" indent="-228600" defTabSz="1016000" eaLnBrk="0" hangingPunct="0">
              <a:defRPr sz="2000">
                <a:solidFill>
                  <a:schemeClr val="tx1"/>
                </a:solidFill>
                <a:latin typeface="Arial" charset="0"/>
                <a:cs typeface="Arial" charset="0"/>
              </a:defRPr>
            </a:lvl4pPr>
            <a:lvl5pPr marL="2057400" indent="-228600" defTabSz="1016000" eaLnBrk="0" hangingPunct="0">
              <a:defRPr sz="2000">
                <a:solidFill>
                  <a:schemeClr val="tx1"/>
                </a:solidFill>
                <a:latin typeface="Arial" charset="0"/>
                <a:cs typeface="Arial" charset="0"/>
              </a:defRPr>
            </a:lvl5pPr>
            <a:lvl6pPr marL="2514600" indent="-228600" defTabSz="1016000" eaLnBrk="0" fontAlgn="base" hangingPunct="0">
              <a:spcBef>
                <a:spcPct val="0"/>
              </a:spcBef>
              <a:spcAft>
                <a:spcPct val="0"/>
              </a:spcAft>
              <a:defRPr sz="2000">
                <a:solidFill>
                  <a:schemeClr val="tx1"/>
                </a:solidFill>
                <a:latin typeface="Arial" charset="0"/>
                <a:cs typeface="Arial" charset="0"/>
              </a:defRPr>
            </a:lvl6pPr>
            <a:lvl7pPr marL="2971800" indent="-228600" defTabSz="1016000" eaLnBrk="0" fontAlgn="base" hangingPunct="0">
              <a:spcBef>
                <a:spcPct val="0"/>
              </a:spcBef>
              <a:spcAft>
                <a:spcPct val="0"/>
              </a:spcAft>
              <a:defRPr sz="2000">
                <a:solidFill>
                  <a:schemeClr val="tx1"/>
                </a:solidFill>
                <a:latin typeface="Arial" charset="0"/>
                <a:cs typeface="Arial" charset="0"/>
              </a:defRPr>
            </a:lvl7pPr>
            <a:lvl8pPr marL="3429000" indent="-228600" defTabSz="1016000" eaLnBrk="0" fontAlgn="base" hangingPunct="0">
              <a:spcBef>
                <a:spcPct val="0"/>
              </a:spcBef>
              <a:spcAft>
                <a:spcPct val="0"/>
              </a:spcAft>
              <a:defRPr sz="2000">
                <a:solidFill>
                  <a:schemeClr val="tx1"/>
                </a:solidFill>
                <a:latin typeface="Arial" charset="0"/>
                <a:cs typeface="Arial" charset="0"/>
              </a:defRPr>
            </a:lvl8pPr>
            <a:lvl9pPr marL="3886200" indent="-228600" defTabSz="1016000" eaLnBrk="0" fontAlgn="base" hangingPunct="0">
              <a:spcBef>
                <a:spcPct val="0"/>
              </a:spcBef>
              <a:spcAft>
                <a:spcPct val="0"/>
              </a:spcAft>
              <a:defRPr sz="2000">
                <a:solidFill>
                  <a:schemeClr val="tx1"/>
                </a:solidFill>
                <a:latin typeface="Arial" charset="0"/>
                <a:cs typeface="Arial" charset="0"/>
              </a:defRPr>
            </a:lvl9pPr>
          </a:lstStyle>
          <a:p>
            <a:pPr defTabSz="668163" eaLnBrk="1" hangingPunct="1">
              <a:defRPr/>
            </a:pPr>
            <a:r>
              <a:rPr lang="en-US" sz="1000" kern="0">
                <a:solidFill>
                  <a:schemeClr val="bg1"/>
                </a:solidFill>
                <a:latin typeface="Calibri Light" panose="020F0302020204030204" pitchFamily="34" charset="0"/>
                <a:cs typeface="Calibri Light" panose="020F030202020403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about for a more detailed description of DTTL and its member firms.  </a:t>
            </a:r>
          </a:p>
          <a:p>
            <a:pPr defTabSz="668163" eaLnBrk="1" hangingPunct="1">
              <a:defRPr/>
            </a:pPr>
            <a:endParaRPr lang="en-US" sz="1000" kern="0">
              <a:solidFill>
                <a:schemeClr val="bg1"/>
              </a:solidFill>
              <a:latin typeface="Calibri Light" panose="020F0302020204030204" pitchFamily="34" charset="0"/>
              <a:cs typeface="Calibri Light" panose="020F0302020204030204" pitchFamily="34" charset="0"/>
            </a:endParaRPr>
          </a:p>
          <a:p>
            <a:pPr defTabSz="668163" eaLnBrk="1" hangingPunct="1">
              <a:defRPr/>
            </a:pPr>
            <a:r>
              <a:rPr lang="en-GB" sz="1000" kern="0">
                <a:solidFill>
                  <a:schemeClr val="bg1"/>
                </a:solidFill>
                <a:latin typeface="Calibri Light" panose="020F0302020204030204" pitchFamily="34" charset="0"/>
                <a:cs typeface="Calibri Light" panose="020F0302020204030204" pitchFamily="34" charset="0"/>
              </a:rPr>
              <a:t>Deloitte &amp; Touche, a member firm of Deloitte Touche Tohmatsu Limited, is a professional services organization that provides audit, tax, consulting, business process-as-a-service, corporate finance, and risk advisory services.</a:t>
            </a:r>
          </a:p>
          <a:p>
            <a:pPr defTabSz="668163" eaLnBrk="1" hangingPunct="1">
              <a:defRPr/>
            </a:pPr>
            <a:endParaRPr lang="en-US" sz="1000" kern="0">
              <a:solidFill>
                <a:schemeClr val="bg1"/>
              </a:solidFill>
              <a:latin typeface="Calibri Light" panose="020F0302020204030204" pitchFamily="34" charset="0"/>
              <a:cs typeface="Calibri Light" panose="020F0302020204030204" pitchFamily="34" charset="0"/>
            </a:endParaRPr>
          </a:p>
          <a:p>
            <a:pPr defTabSz="668163">
              <a:defRPr/>
            </a:pPr>
            <a:r>
              <a:rPr lang="en-US" sz="1000" kern="0">
                <a:solidFill>
                  <a:schemeClr val="bg1"/>
                </a:solidFill>
                <a:latin typeface="Calibri Light" panose="020F0302020204030204" pitchFamily="34" charset="0"/>
                <a:cs typeface="Calibri Light" panose="020F0302020204030204" pitchFamily="34" charset="0"/>
              </a:rPr>
              <a:t>Deloitte provides audit, tax, consulting, and financial advisory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210,000 professionals are committed to becoming the standard of excellence.</a:t>
            </a:r>
          </a:p>
          <a:p>
            <a:pPr defTabSz="668163">
              <a:defRPr/>
            </a:pPr>
            <a:endParaRPr lang="en-GB" sz="1000" kern="0">
              <a:solidFill>
                <a:schemeClr val="bg1"/>
              </a:solidFill>
              <a:latin typeface="Calibri Light" panose="020F0302020204030204" pitchFamily="34" charset="0"/>
              <a:cs typeface="Calibri Light" panose="020F0302020204030204" pitchFamily="34" charset="0"/>
            </a:endParaRPr>
          </a:p>
          <a:p>
            <a:pPr defTabSz="668163" eaLnBrk="1" hangingPunct="1">
              <a:spcAft>
                <a:spcPts val="384"/>
              </a:spcAft>
              <a:defRPr/>
            </a:pPr>
            <a:r>
              <a:rPr lang="en-US" sz="1000" kern="0">
                <a:solidFill>
                  <a:schemeClr val="bg1"/>
                </a:solidFill>
                <a:latin typeface="Calibri Light" panose="020F0302020204030204" pitchFamily="34" charset="0"/>
                <a:cs typeface="Calibri Light" panose="020F0302020204030204" pitchFamily="34" charset="0"/>
              </a:rPr>
              <a:t>© 2023. For information, contact Deloitte &amp; Touche. </a:t>
            </a:r>
            <a:r>
              <a:rPr lang="en-GB" sz="1000" kern="0">
                <a:solidFill>
                  <a:schemeClr val="bg1"/>
                </a:solidFill>
                <a:latin typeface="Calibri Light" panose="020F0302020204030204" pitchFamily="34" charset="0"/>
                <a:cs typeface="Calibri Light" panose="020F0302020204030204" pitchFamily="34" charset="0"/>
              </a:rPr>
              <a:t>All </a:t>
            </a:r>
            <a:r>
              <a:rPr lang="en-US" sz="1000" kern="0">
                <a:solidFill>
                  <a:schemeClr val="bg1"/>
                </a:solidFill>
                <a:latin typeface="Calibri Light" panose="020F0302020204030204" pitchFamily="34" charset="0"/>
                <a:cs typeface="Calibri Light" panose="020F0302020204030204" pitchFamily="34" charset="0"/>
              </a:rPr>
              <a:t>rights reserved.</a:t>
            </a:r>
            <a:endParaRPr lang="en-GB" sz="1000" kern="0">
              <a:solidFill>
                <a:schemeClr val="bg1"/>
              </a:solidFill>
              <a:latin typeface="Calibri Light" panose="020F0302020204030204" pitchFamily="34" charset="0"/>
              <a:cs typeface="Calibri Light" panose="020F0302020204030204" pitchFamily="34" charset="0"/>
            </a:endParaRPr>
          </a:p>
          <a:p>
            <a:pPr defTabSz="668163" eaLnBrk="1" hangingPunct="1">
              <a:defRPr/>
            </a:pPr>
            <a:r>
              <a:rPr lang="en-GB" sz="1000" b="1" kern="0">
                <a:solidFill>
                  <a:schemeClr val="bg1"/>
                </a:solidFill>
                <a:latin typeface="Calibri Light" panose="020F0302020204030204" pitchFamily="34" charset="0"/>
                <a:cs typeface="Calibri Light" panose="020F0302020204030204" pitchFamily="34" charset="0"/>
              </a:rPr>
              <a:t>       </a:t>
            </a:r>
          </a:p>
          <a:p>
            <a:pPr defTabSz="668163" eaLnBrk="1" hangingPunct="1">
              <a:spcAft>
                <a:spcPts val="384"/>
              </a:spcAft>
              <a:defRPr/>
            </a:pPr>
            <a:r>
              <a:rPr lang="en-GB" sz="1000" b="1" kern="0">
                <a:solidFill>
                  <a:schemeClr val="bg1"/>
                </a:solidFill>
                <a:latin typeface="Calibri Light" panose="020F0302020204030204" pitchFamily="34" charset="0"/>
                <a:cs typeface="Calibri Light" panose="020F0302020204030204" pitchFamily="34" charset="0"/>
              </a:rPr>
              <a:t>            </a:t>
            </a:r>
            <a:r>
              <a:rPr lang="en-GB" sz="1000" kern="0">
                <a:solidFill>
                  <a:schemeClr val="bg1"/>
                </a:solidFill>
                <a:latin typeface="Calibri Light" panose="020F0302020204030204" pitchFamily="34" charset="0"/>
                <a:cs typeface="Calibri Light" panose="020F0302020204030204" pitchFamily="34" charset="0"/>
              </a:rPr>
              <a:t>www.facebook.com/DeloitteGhana                www.twitter.com/DeloitteGhana	 </a:t>
            </a:r>
            <a:endParaRPr lang="en-US" sz="1000" kern="0">
              <a:solidFill>
                <a:schemeClr val="bg1"/>
              </a:solidFill>
              <a:latin typeface="Calibri Light" panose="020F0302020204030204" pitchFamily="34" charset="0"/>
              <a:cs typeface="Calibri Light" panose="020F0302020204030204" pitchFamily="34" charset="0"/>
            </a:endParaRPr>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741752" y="6141149"/>
            <a:ext cx="302245" cy="302245"/>
          </a:xfrm>
          <a:prstGeom prst="rect">
            <a:avLst/>
          </a:prstGeom>
        </p:spPr>
      </p:pic>
      <p:pic>
        <p:nvPicPr>
          <p:cNvPr id="34" name="Picture 3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91380" y="6142741"/>
            <a:ext cx="302245" cy="302245"/>
          </a:xfrm>
          <a:prstGeom prst="rect">
            <a:avLst/>
          </a:prstGeom>
        </p:spPr>
      </p:pic>
      <p:sp>
        <p:nvSpPr>
          <p:cNvPr id="35" name="Rectangle 34"/>
          <p:cNvSpPr/>
          <p:nvPr userDrawn="1"/>
        </p:nvSpPr>
        <p:spPr>
          <a:xfrm>
            <a:off x="372430" y="3399700"/>
            <a:ext cx="3516090" cy="344069"/>
          </a:xfrm>
          <a:prstGeom prst="rect">
            <a:avLst/>
          </a:prstGeom>
        </p:spPr>
        <p:txBody>
          <a:bodyPr>
            <a:spAutoFit/>
          </a:bodyPr>
          <a:lstStyle/>
          <a:p>
            <a:pPr defTabSz="937531">
              <a:lnSpc>
                <a:spcPct val="107000"/>
              </a:lnSpc>
              <a:spcAft>
                <a:spcPts val="615"/>
              </a:spcAft>
              <a:defRPr/>
            </a:pPr>
            <a:r>
              <a:rPr lang="en-GB" sz="1600" b="1">
                <a:solidFill>
                  <a:schemeClr val="bg1"/>
                </a:solidFill>
                <a:latin typeface="Calibri Light" panose="020F0302020204030204" pitchFamily="34" charset="0"/>
                <a:ea typeface="Times New Roman" panose="02020603050405020304" pitchFamily="18" charset="0"/>
                <a:cs typeface="Calibri Light" panose="020F0302020204030204" pitchFamily="34" charset="0"/>
              </a:rPr>
              <a:t>www2.deloitte.com/gh</a:t>
            </a:r>
            <a:endParaRPr lang="en-ZA" sz="1600">
              <a:solidFill>
                <a:schemeClr val="bg1"/>
              </a:solidFill>
              <a:latin typeface="Calibri Light" panose="020F0302020204030204" pitchFamily="34" charset="0"/>
              <a:ea typeface="Times New Roman" panose="02020603050405020304" pitchFamily="18" charset="0"/>
              <a:cs typeface="Calibri Light" panose="020F0302020204030204" pitchFamily="34" charset="0"/>
            </a:endParaRPr>
          </a:p>
        </p:txBody>
      </p:sp>
    </p:spTree>
    <p:extLst>
      <p:ext uri="{BB962C8B-B14F-4D97-AF65-F5344CB8AC3E}">
        <p14:creationId xmlns:p14="http://schemas.microsoft.com/office/powerpoint/2010/main" val="948839756"/>
      </p:ext>
    </p:extLst>
  </p:cSld>
  <p:clrMapOvr>
    <a:masterClrMapping/>
  </p:clrMapOvr>
  <p:hf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5" y="1705671"/>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5" y="3429001"/>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167" indent="0">
              <a:buNone/>
              <a:defRPr sz="1999">
                <a:solidFill>
                  <a:schemeClr val="tx1">
                    <a:tint val="75000"/>
                  </a:schemeClr>
                </a:solidFill>
              </a:defRPr>
            </a:lvl2pPr>
            <a:lvl3pPr marL="914335" indent="0">
              <a:buNone/>
              <a:defRPr sz="1800">
                <a:solidFill>
                  <a:schemeClr val="tx1">
                    <a:tint val="75000"/>
                  </a:schemeClr>
                </a:solidFill>
              </a:defRPr>
            </a:lvl3pPr>
            <a:lvl4pPr marL="1371501" indent="0">
              <a:buNone/>
              <a:defRPr sz="1600">
                <a:solidFill>
                  <a:schemeClr val="tx1">
                    <a:tint val="75000"/>
                  </a:schemeClr>
                </a:solidFill>
              </a:defRPr>
            </a:lvl4pPr>
            <a:lvl5pPr marL="1828669" indent="0">
              <a:buNone/>
              <a:defRPr sz="1600">
                <a:solidFill>
                  <a:schemeClr val="tx1">
                    <a:tint val="75000"/>
                  </a:schemeClr>
                </a:solidFill>
              </a:defRPr>
            </a:lvl5pPr>
            <a:lvl6pPr marL="2285836" indent="0">
              <a:buNone/>
              <a:defRPr sz="1600">
                <a:solidFill>
                  <a:schemeClr val="tx1">
                    <a:tint val="75000"/>
                  </a:schemeClr>
                </a:solidFill>
              </a:defRPr>
            </a:lvl6pPr>
            <a:lvl7pPr marL="2743004" indent="0">
              <a:buNone/>
              <a:defRPr sz="1600">
                <a:solidFill>
                  <a:schemeClr val="tx1">
                    <a:tint val="75000"/>
                  </a:schemeClr>
                </a:solidFill>
              </a:defRPr>
            </a:lvl7pPr>
            <a:lvl8pPr marL="3200171" indent="0">
              <a:buNone/>
              <a:defRPr sz="1600">
                <a:solidFill>
                  <a:schemeClr val="tx1">
                    <a:tint val="75000"/>
                  </a:schemeClr>
                </a:solidFill>
              </a:defRPr>
            </a:lvl8pPr>
            <a:lvl9pPr marL="3657338"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2933696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4137882841"/>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spTree>
    <p:extLst>
      <p:ext uri="{BB962C8B-B14F-4D97-AF65-F5344CB8AC3E}">
        <p14:creationId xmlns:p14="http://schemas.microsoft.com/office/powerpoint/2010/main" val="57707983"/>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Tree>
    <p:extLst>
      <p:ext uri="{BB962C8B-B14F-4D97-AF65-F5344CB8AC3E}">
        <p14:creationId xmlns:p14="http://schemas.microsoft.com/office/powerpoint/2010/main" val="401826836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530187"/>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4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05A628D-2650-AD48-804E-8BA2A0597108}"/>
              </a:ext>
            </a:extLst>
          </p:cNvPr>
          <p:cNvSpPr txBox="1"/>
          <p:nvPr userDrawn="1"/>
        </p:nvSpPr>
        <p:spPr>
          <a:xfrm>
            <a:off x="654049" y="66294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 2021. For information, contact Deloitte Global</a:t>
            </a:r>
          </a:p>
        </p:txBody>
      </p:sp>
    </p:spTree>
    <p:extLst>
      <p:ext uri="{BB962C8B-B14F-4D97-AF65-F5344CB8AC3E}">
        <p14:creationId xmlns:p14="http://schemas.microsoft.com/office/powerpoint/2010/main" val="274954773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5_空白">
    <p:bg>
      <p:bgPr>
        <a:solidFill>
          <a:schemeClr val="tx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AC9E84-AA29-3D43-8913-C9E7FFAD9428}"/>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 2021. For information, contact Deloitte Global</a:t>
            </a:r>
          </a:p>
        </p:txBody>
      </p:sp>
      <p:sp>
        <p:nvSpPr>
          <p:cNvPr id="3" name="TextBox 2">
            <a:extLst>
              <a:ext uri="{FF2B5EF4-FFF2-40B4-BE49-F238E27FC236}">
                <a16:creationId xmlns:a16="http://schemas.microsoft.com/office/drawing/2014/main" id="{FD4A853B-3DF7-9E41-97FD-305CBF0C7280}"/>
              </a:ext>
            </a:extLst>
          </p:cNvPr>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Advanced graphics timesaver</a:t>
            </a:r>
          </a:p>
        </p:txBody>
      </p:sp>
      <p:sp>
        <p:nvSpPr>
          <p:cNvPr id="4" name="TextBox 3">
            <a:extLst>
              <a:ext uri="{FF2B5EF4-FFF2-40B4-BE49-F238E27FC236}">
                <a16:creationId xmlns:a16="http://schemas.microsoft.com/office/drawing/2014/main" id="{4E669115-3258-2840-90D8-5DE7535D357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
        <p:nvSpPr>
          <p:cNvPr id="5" name="Freeform 6"/>
          <p:cNvSpPr>
            <a:spLocks noEditPoints="1"/>
          </p:cNvSpPr>
          <p:nvPr userDrawn="1"/>
        </p:nvSpPr>
        <p:spPr bwMode="auto">
          <a:xfrm>
            <a:off x="1672440" y="696562"/>
            <a:ext cx="8893960" cy="3722142"/>
          </a:xfrm>
          <a:custGeom>
            <a:avLst/>
            <a:gdLst>
              <a:gd name="T0" fmla="*/ 9032 w 9534"/>
              <a:gd name="T1" fmla="*/ 2729 h 3990"/>
              <a:gd name="T2" fmla="*/ 8371 w 9534"/>
              <a:gd name="T3" fmla="*/ 2925 h 3990"/>
              <a:gd name="T4" fmla="*/ 7037 w 9534"/>
              <a:gd name="T5" fmla="*/ 1028 h 3990"/>
              <a:gd name="T6" fmla="*/ 6658 w 9534"/>
              <a:gd name="T7" fmla="*/ 1334 h 3990"/>
              <a:gd name="T8" fmla="*/ 5850 w 9534"/>
              <a:gd name="T9" fmla="*/ 2815 h 3990"/>
              <a:gd name="T10" fmla="*/ 5275 w 9534"/>
              <a:gd name="T11" fmla="*/ 2081 h 3990"/>
              <a:gd name="T12" fmla="*/ 4455 w 9534"/>
              <a:gd name="T13" fmla="*/ 2240 h 3990"/>
              <a:gd name="T14" fmla="*/ 4467 w 9534"/>
              <a:gd name="T15" fmla="*/ 3549 h 3990"/>
              <a:gd name="T16" fmla="*/ 4369 w 9534"/>
              <a:gd name="T17" fmla="*/ 1677 h 3990"/>
              <a:gd name="T18" fmla="*/ 3892 w 9534"/>
              <a:gd name="T19" fmla="*/ 1677 h 3990"/>
              <a:gd name="T20" fmla="*/ 3610 w 9534"/>
              <a:gd name="T21" fmla="*/ 2656 h 3990"/>
              <a:gd name="T22" fmla="*/ 2068 w 9534"/>
              <a:gd name="T23" fmla="*/ 3402 h 3990"/>
              <a:gd name="T24" fmla="*/ 1579 w 9534"/>
              <a:gd name="T25" fmla="*/ 2619 h 3990"/>
              <a:gd name="T26" fmla="*/ 1775 w 9534"/>
              <a:gd name="T27" fmla="*/ 844 h 3990"/>
              <a:gd name="T28" fmla="*/ 5813 w 9534"/>
              <a:gd name="T29" fmla="*/ 808 h 3990"/>
              <a:gd name="T30" fmla="*/ 6303 w 9534"/>
              <a:gd name="T31" fmla="*/ 857 h 3990"/>
              <a:gd name="T32" fmla="*/ 6695 w 9534"/>
              <a:gd name="T33" fmla="*/ 893 h 3990"/>
              <a:gd name="T34" fmla="*/ 6254 w 9534"/>
              <a:gd name="T35" fmla="*/ 759 h 3990"/>
              <a:gd name="T36" fmla="*/ 3390 w 9534"/>
              <a:gd name="T37" fmla="*/ 2509 h 3990"/>
              <a:gd name="T38" fmla="*/ 3329 w 9534"/>
              <a:gd name="T39" fmla="*/ 3280 h 3990"/>
              <a:gd name="T40" fmla="*/ 2717 w 9534"/>
              <a:gd name="T41" fmla="*/ 3158 h 3990"/>
              <a:gd name="T42" fmla="*/ 2264 w 9534"/>
              <a:gd name="T43" fmla="*/ 3402 h 3990"/>
              <a:gd name="T44" fmla="*/ 1628 w 9534"/>
              <a:gd name="T45" fmla="*/ 783 h 3990"/>
              <a:gd name="T46" fmla="*/ 2117 w 9534"/>
              <a:gd name="T47" fmla="*/ 808 h 3990"/>
              <a:gd name="T48" fmla="*/ 2338 w 9534"/>
              <a:gd name="T49" fmla="*/ 673 h 3990"/>
              <a:gd name="T50" fmla="*/ 9412 w 9534"/>
              <a:gd name="T51" fmla="*/ 3011 h 3990"/>
              <a:gd name="T52" fmla="*/ 9179 w 9534"/>
              <a:gd name="T53" fmla="*/ 3415 h 3990"/>
              <a:gd name="T54" fmla="*/ 8898 w 9534"/>
              <a:gd name="T55" fmla="*/ 3182 h 3990"/>
              <a:gd name="T56" fmla="*/ 8861 w 9534"/>
              <a:gd name="T57" fmla="*/ 3451 h 3990"/>
              <a:gd name="T58" fmla="*/ 8506 w 9534"/>
              <a:gd name="T59" fmla="*/ 1970 h 3990"/>
              <a:gd name="T60" fmla="*/ 7784 w 9534"/>
              <a:gd name="T61" fmla="*/ 3158 h 3990"/>
              <a:gd name="T62" fmla="*/ 7588 w 9534"/>
              <a:gd name="T63" fmla="*/ 1872 h 3990"/>
              <a:gd name="T64" fmla="*/ 7368 w 9534"/>
              <a:gd name="T65" fmla="*/ 893 h 3990"/>
              <a:gd name="T66" fmla="*/ 7258 w 9534"/>
              <a:gd name="T67" fmla="*/ 343 h 3990"/>
              <a:gd name="T68" fmla="*/ 7172 w 9534"/>
              <a:gd name="T69" fmla="*/ 2093 h 3990"/>
              <a:gd name="T70" fmla="*/ 7172 w 9534"/>
              <a:gd name="T71" fmla="*/ 1187 h 3990"/>
              <a:gd name="T72" fmla="*/ 7074 w 9534"/>
              <a:gd name="T73" fmla="*/ 538 h 3990"/>
              <a:gd name="T74" fmla="*/ 7147 w 9534"/>
              <a:gd name="T75" fmla="*/ 3353 h 3990"/>
              <a:gd name="T76" fmla="*/ 7233 w 9534"/>
              <a:gd name="T77" fmla="*/ 3806 h 3990"/>
              <a:gd name="T78" fmla="*/ 6621 w 9534"/>
              <a:gd name="T79" fmla="*/ 2815 h 3990"/>
              <a:gd name="T80" fmla="*/ 5985 w 9534"/>
              <a:gd name="T81" fmla="*/ 2705 h 3990"/>
              <a:gd name="T82" fmla="*/ 5275 w 9534"/>
              <a:gd name="T83" fmla="*/ 3525 h 3990"/>
              <a:gd name="T84" fmla="*/ 5201 w 9534"/>
              <a:gd name="T85" fmla="*/ 3659 h 3990"/>
              <a:gd name="T86" fmla="*/ 5067 w 9534"/>
              <a:gd name="T87" fmla="*/ 3500 h 3990"/>
              <a:gd name="T88" fmla="*/ 4957 w 9534"/>
              <a:gd name="T89" fmla="*/ 2081 h 3990"/>
              <a:gd name="T90" fmla="*/ 4847 w 9534"/>
              <a:gd name="T91" fmla="*/ 2350 h 3990"/>
              <a:gd name="T92" fmla="*/ 4932 w 9534"/>
              <a:gd name="T93" fmla="*/ 3549 h 3990"/>
              <a:gd name="T94" fmla="*/ 4638 w 9534"/>
              <a:gd name="T95" fmla="*/ 1909 h 3990"/>
              <a:gd name="T96" fmla="*/ 4626 w 9534"/>
              <a:gd name="T97" fmla="*/ 3207 h 3990"/>
              <a:gd name="T98" fmla="*/ 4565 w 9534"/>
              <a:gd name="T99" fmla="*/ 3708 h 3990"/>
              <a:gd name="T100" fmla="*/ 4590 w 9534"/>
              <a:gd name="T101" fmla="*/ 3378 h 3990"/>
              <a:gd name="T102" fmla="*/ 4137 w 9534"/>
              <a:gd name="T103" fmla="*/ 3219 h 3990"/>
              <a:gd name="T104" fmla="*/ 4137 w 9534"/>
              <a:gd name="T105" fmla="*/ 1579 h 3990"/>
              <a:gd name="T106" fmla="*/ 3904 w 9534"/>
              <a:gd name="T107" fmla="*/ 1554 h 3990"/>
              <a:gd name="T108" fmla="*/ 1970 w 9534"/>
              <a:gd name="T109" fmla="*/ 3280 h 3990"/>
              <a:gd name="T110" fmla="*/ 1542 w 9534"/>
              <a:gd name="T111" fmla="*/ 2815 h 3990"/>
              <a:gd name="T112" fmla="*/ 869 w 9534"/>
              <a:gd name="T113" fmla="*/ 3047 h 3990"/>
              <a:gd name="T114" fmla="*/ 869 w 9534"/>
              <a:gd name="T115" fmla="*/ 2203 h 3990"/>
              <a:gd name="T116" fmla="*/ 881 w 9534"/>
              <a:gd name="T117" fmla="*/ 967 h 3990"/>
              <a:gd name="T118" fmla="*/ 918 w 9534"/>
              <a:gd name="T119" fmla="*/ 465 h 3990"/>
              <a:gd name="T120" fmla="*/ 844 w 9534"/>
              <a:gd name="T121" fmla="*/ 2815 h 3990"/>
              <a:gd name="T122" fmla="*/ 538 w 9534"/>
              <a:gd name="T123" fmla="*/ 673 h 3990"/>
              <a:gd name="T124" fmla="*/ 844 w 9534"/>
              <a:gd name="T125" fmla="*/ 3794 h 3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34" h="3990">
                <a:moveTo>
                  <a:pt x="9436" y="3818"/>
                </a:moveTo>
                <a:lnTo>
                  <a:pt x="9436" y="3733"/>
                </a:lnTo>
                <a:lnTo>
                  <a:pt x="9485" y="3733"/>
                </a:lnTo>
                <a:lnTo>
                  <a:pt x="9485" y="3696"/>
                </a:lnTo>
                <a:lnTo>
                  <a:pt x="9436" y="3696"/>
                </a:lnTo>
                <a:lnTo>
                  <a:pt x="9436" y="3586"/>
                </a:lnTo>
                <a:lnTo>
                  <a:pt x="9485" y="3586"/>
                </a:lnTo>
                <a:lnTo>
                  <a:pt x="9485" y="3561"/>
                </a:lnTo>
                <a:lnTo>
                  <a:pt x="9436" y="3561"/>
                </a:lnTo>
                <a:lnTo>
                  <a:pt x="9436" y="3451"/>
                </a:lnTo>
                <a:lnTo>
                  <a:pt x="9485" y="3451"/>
                </a:lnTo>
                <a:lnTo>
                  <a:pt x="9485" y="3415"/>
                </a:lnTo>
                <a:lnTo>
                  <a:pt x="9436" y="3415"/>
                </a:lnTo>
                <a:lnTo>
                  <a:pt x="9436" y="3304"/>
                </a:lnTo>
                <a:lnTo>
                  <a:pt x="9485" y="3304"/>
                </a:lnTo>
                <a:lnTo>
                  <a:pt x="9485" y="3268"/>
                </a:lnTo>
                <a:lnTo>
                  <a:pt x="9436" y="3268"/>
                </a:lnTo>
                <a:lnTo>
                  <a:pt x="9436" y="3182"/>
                </a:lnTo>
                <a:lnTo>
                  <a:pt x="9485" y="3182"/>
                </a:lnTo>
                <a:lnTo>
                  <a:pt x="9485" y="3158"/>
                </a:lnTo>
                <a:lnTo>
                  <a:pt x="9436" y="3158"/>
                </a:lnTo>
                <a:lnTo>
                  <a:pt x="9436" y="3047"/>
                </a:lnTo>
                <a:lnTo>
                  <a:pt x="9485" y="3047"/>
                </a:lnTo>
                <a:lnTo>
                  <a:pt x="9485" y="3011"/>
                </a:lnTo>
                <a:lnTo>
                  <a:pt x="9436" y="3011"/>
                </a:lnTo>
                <a:lnTo>
                  <a:pt x="9436" y="2901"/>
                </a:lnTo>
                <a:lnTo>
                  <a:pt x="9485" y="2901"/>
                </a:lnTo>
                <a:lnTo>
                  <a:pt x="9485" y="2864"/>
                </a:lnTo>
                <a:lnTo>
                  <a:pt x="9436" y="2864"/>
                </a:lnTo>
                <a:lnTo>
                  <a:pt x="9436" y="2766"/>
                </a:lnTo>
                <a:lnTo>
                  <a:pt x="9485" y="2766"/>
                </a:lnTo>
                <a:lnTo>
                  <a:pt x="9485" y="2729"/>
                </a:lnTo>
                <a:lnTo>
                  <a:pt x="9436" y="2729"/>
                </a:lnTo>
                <a:lnTo>
                  <a:pt x="9436" y="2509"/>
                </a:lnTo>
                <a:lnTo>
                  <a:pt x="9412" y="2509"/>
                </a:lnTo>
                <a:lnTo>
                  <a:pt x="9412" y="2729"/>
                </a:lnTo>
                <a:lnTo>
                  <a:pt x="9338" y="2729"/>
                </a:lnTo>
                <a:lnTo>
                  <a:pt x="9338" y="2582"/>
                </a:lnTo>
                <a:lnTo>
                  <a:pt x="9314" y="2582"/>
                </a:lnTo>
                <a:lnTo>
                  <a:pt x="9314" y="2729"/>
                </a:lnTo>
                <a:lnTo>
                  <a:pt x="9167" y="2729"/>
                </a:lnTo>
                <a:lnTo>
                  <a:pt x="9167" y="2509"/>
                </a:lnTo>
                <a:lnTo>
                  <a:pt x="9130" y="2509"/>
                </a:lnTo>
                <a:lnTo>
                  <a:pt x="9130" y="2729"/>
                </a:lnTo>
                <a:lnTo>
                  <a:pt x="9069" y="2729"/>
                </a:lnTo>
                <a:lnTo>
                  <a:pt x="9069" y="2582"/>
                </a:lnTo>
                <a:lnTo>
                  <a:pt x="9032" y="2582"/>
                </a:lnTo>
                <a:lnTo>
                  <a:pt x="9032" y="2729"/>
                </a:lnTo>
                <a:lnTo>
                  <a:pt x="8898" y="2729"/>
                </a:lnTo>
                <a:lnTo>
                  <a:pt x="8898" y="2509"/>
                </a:lnTo>
                <a:lnTo>
                  <a:pt x="8861" y="2509"/>
                </a:lnTo>
                <a:lnTo>
                  <a:pt x="8861" y="2729"/>
                </a:lnTo>
                <a:lnTo>
                  <a:pt x="8800" y="2729"/>
                </a:lnTo>
                <a:lnTo>
                  <a:pt x="8800" y="2717"/>
                </a:lnTo>
                <a:lnTo>
                  <a:pt x="8763" y="2717"/>
                </a:lnTo>
                <a:lnTo>
                  <a:pt x="8763" y="2729"/>
                </a:lnTo>
                <a:lnTo>
                  <a:pt x="8726" y="2729"/>
                </a:lnTo>
                <a:lnTo>
                  <a:pt x="8726" y="2766"/>
                </a:lnTo>
                <a:lnTo>
                  <a:pt x="8763" y="2766"/>
                </a:lnTo>
                <a:lnTo>
                  <a:pt x="8763" y="2864"/>
                </a:lnTo>
                <a:lnTo>
                  <a:pt x="8726" y="2864"/>
                </a:lnTo>
                <a:lnTo>
                  <a:pt x="8726" y="2901"/>
                </a:lnTo>
                <a:lnTo>
                  <a:pt x="8763" y="2901"/>
                </a:lnTo>
                <a:lnTo>
                  <a:pt x="8763" y="3011"/>
                </a:lnTo>
                <a:lnTo>
                  <a:pt x="8726" y="3011"/>
                </a:lnTo>
                <a:lnTo>
                  <a:pt x="8726" y="3047"/>
                </a:lnTo>
                <a:lnTo>
                  <a:pt x="8763" y="3047"/>
                </a:lnTo>
                <a:lnTo>
                  <a:pt x="8763" y="3158"/>
                </a:lnTo>
                <a:lnTo>
                  <a:pt x="8726" y="3158"/>
                </a:lnTo>
                <a:lnTo>
                  <a:pt x="8726" y="3182"/>
                </a:lnTo>
                <a:lnTo>
                  <a:pt x="8763" y="3182"/>
                </a:lnTo>
                <a:lnTo>
                  <a:pt x="8763" y="3268"/>
                </a:lnTo>
                <a:lnTo>
                  <a:pt x="8726" y="3268"/>
                </a:lnTo>
                <a:lnTo>
                  <a:pt x="8726" y="3304"/>
                </a:lnTo>
                <a:lnTo>
                  <a:pt x="8763" y="3304"/>
                </a:lnTo>
                <a:lnTo>
                  <a:pt x="8763" y="3415"/>
                </a:lnTo>
                <a:lnTo>
                  <a:pt x="8726" y="3415"/>
                </a:lnTo>
                <a:lnTo>
                  <a:pt x="8726" y="3451"/>
                </a:lnTo>
                <a:lnTo>
                  <a:pt x="8763" y="3451"/>
                </a:lnTo>
                <a:lnTo>
                  <a:pt x="8763" y="3561"/>
                </a:lnTo>
                <a:lnTo>
                  <a:pt x="8726" y="3561"/>
                </a:lnTo>
                <a:lnTo>
                  <a:pt x="8726" y="3586"/>
                </a:lnTo>
                <a:lnTo>
                  <a:pt x="8763" y="3586"/>
                </a:lnTo>
                <a:lnTo>
                  <a:pt x="8763" y="3696"/>
                </a:lnTo>
                <a:lnTo>
                  <a:pt x="8726" y="3696"/>
                </a:lnTo>
                <a:lnTo>
                  <a:pt x="8726" y="3733"/>
                </a:lnTo>
                <a:lnTo>
                  <a:pt x="8763" y="3733"/>
                </a:lnTo>
                <a:lnTo>
                  <a:pt x="8763" y="3818"/>
                </a:lnTo>
                <a:lnTo>
                  <a:pt x="8604" y="3818"/>
                </a:lnTo>
                <a:lnTo>
                  <a:pt x="8604" y="3451"/>
                </a:lnTo>
                <a:lnTo>
                  <a:pt x="8604" y="3366"/>
                </a:lnTo>
                <a:lnTo>
                  <a:pt x="8604" y="3268"/>
                </a:lnTo>
                <a:lnTo>
                  <a:pt x="8420" y="3268"/>
                </a:lnTo>
                <a:lnTo>
                  <a:pt x="8420" y="3158"/>
                </a:lnTo>
                <a:lnTo>
                  <a:pt x="8371" y="3158"/>
                </a:lnTo>
                <a:lnTo>
                  <a:pt x="8371" y="2925"/>
                </a:lnTo>
                <a:lnTo>
                  <a:pt x="8420" y="2925"/>
                </a:lnTo>
                <a:lnTo>
                  <a:pt x="8420" y="2790"/>
                </a:lnTo>
                <a:lnTo>
                  <a:pt x="8616" y="2790"/>
                </a:lnTo>
                <a:lnTo>
                  <a:pt x="8616" y="2607"/>
                </a:lnTo>
                <a:lnTo>
                  <a:pt x="8543" y="2607"/>
                </a:lnTo>
                <a:lnTo>
                  <a:pt x="8543" y="2582"/>
                </a:lnTo>
                <a:lnTo>
                  <a:pt x="8543" y="2533"/>
                </a:lnTo>
                <a:lnTo>
                  <a:pt x="8543" y="2374"/>
                </a:lnTo>
                <a:lnTo>
                  <a:pt x="8543" y="2325"/>
                </a:lnTo>
                <a:lnTo>
                  <a:pt x="8543" y="2166"/>
                </a:lnTo>
                <a:lnTo>
                  <a:pt x="8543" y="2117"/>
                </a:lnTo>
                <a:lnTo>
                  <a:pt x="8543" y="1958"/>
                </a:lnTo>
                <a:lnTo>
                  <a:pt x="8543" y="1909"/>
                </a:lnTo>
                <a:lnTo>
                  <a:pt x="8543" y="1872"/>
                </a:lnTo>
                <a:lnTo>
                  <a:pt x="8616" y="1872"/>
                </a:lnTo>
                <a:lnTo>
                  <a:pt x="8616" y="1689"/>
                </a:lnTo>
                <a:lnTo>
                  <a:pt x="8286" y="1689"/>
                </a:lnTo>
                <a:lnTo>
                  <a:pt x="8286" y="1493"/>
                </a:lnTo>
                <a:lnTo>
                  <a:pt x="7625" y="1493"/>
                </a:lnTo>
                <a:lnTo>
                  <a:pt x="7625" y="1689"/>
                </a:lnTo>
                <a:lnTo>
                  <a:pt x="7294" y="1689"/>
                </a:lnTo>
                <a:lnTo>
                  <a:pt x="7294" y="1701"/>
                </a:lnTo>
                <a:lnTo>
                  <a:pt x="7258" y="1701"/>
                </a:lnTo>
                <a:lnTo>
                  <a:pt x="7258" y="1481"/>
                </a:lnTo>
                <a:lnTo>
                  <a:pt x="7258" y="1444"/>
                </a:lnTo>
                <a:lnTo>
                  <a:pt x="7258" y="1297"/>
                </a:lnTo>
                <a:lnTo>
                  <a:pt x="7258" y="1261"/>
                </a:lnTo>
                <a:lnTo>
                  <a:pt x="7258" y="1114"/>
                </a:lnTo>
                <a:lnTo>
                  <a:pt x="7258" y="1077"/>
                </a:lnTo>
                <a:lnTo>
                  <a:pt x="7258" y="1028"/>
                </a:lnTo>
                <a:lnTo>
                  <a:pt x="7294" y="1028"/>
                </a:lnTo>
                <a:lnTo>
                  <a:pt x="7294" y="955"/>
                </a:lnTo>
                <a:lnTo>
                  <a:pt x="7735" y="955"/>
                </a:lnTo>
                <a:lnTo>
                  <a:pt x="7735" y="1004"/>
                </a:lnTo>
                <a:lnTo>
                  <a:pt x="7980" y="1004"/>
                </a:lnTo>
                <a:lnTo>
                  <a:pt x="7980" y="710"/>
                </a:lnTo>
                <a:lnTo>
                  <a:pt x="7735" y="710"/>
                </a:lnTo>
                <a:lnTo>
                  <a:pt x="7735" y="722"/>
                </a:lnTo>
                <a:lnTo>
                  <a:pt x="7160" y="147"/>
                </a:lnTo>
                <a:lnTo>
                  <a:pt x="5458" y="881"/>
                </a:lnTo>
                <a:lnTo>
                  <a:pt x="5458" y="881"/>
                </a:lnTo>
                <a:lnTo>
                  <a:pt x="5361" y="918"/>
                </a:lnTo>
                <a:lnTo>
                  <a:pt x="5361" y="955"/>
                </a:lnTo>
                <a:lnTo>
                  <a:pt x="6376" y="955"/>
                </a:lnTo>
                <a:lnTo>
                  <a:pt x="6425" y="955"/>
                </a:lnTo>
                <a:lnTo>
                  <a:pt x="7001" y="955"/>
                </a:lnTo>
                <a:lnTo>
                  <a:pt x="7001" y="1028"/>
                </a:lnTo>
                <a:lnTo>
                  <a:pt x="7037" y="1028"/>
                </a:lnTo>
                <a:lnTo>
                  <a:pt x="7037" y="1701"/>
                </a:lnTo>
                <a:lnTo>
                  <a:pt x="6976" y="1701"/>
                </a:lnTo>
                <a:lnTo>
                  <a:pt x="6976" y="2692"/>
                </a:lnTo>
                <a:lnTo>
                  <a:pt x="6976" y="2766"/>
                </a:lnTo>
                <a:lnTo>
                  <a:pt x="6976" y="3317"/>
                </a:lnTo>
                <a:lnTo>
                  <a:pt x="6866" y="3317"/>
                </a:lnTo>
                <a:lnTo>
                  <a:pt x="6866" y="2974"/>
                </a:lnTo>
                <a:lnTo>
                  <a:pt x="6658" y="2974"/>
                </a:lnTo>
                <a:lnTo>
                  <a:pt x="6658" y="2876"/>
                </a:lnTo>
                <a:lnTo>
                  <a:pt x="6780" y="2876"/>
                </a:lnTo>
                <a:lnTo>
                  <a:pt x="6780" y="2815"/>
                </a:lnTo>
                <a:lnTo>
                  <a:pt x="6658" y="2815"/>
                </a:lnTo>
                <a:lnTo>
                  <a:pt x="6658" y="2705"/>
                </a:lnTo>
                <a:lnTo>
                  <a:pt x="6780" y="2705"/>
                </a:lnTo>
                <a:lnTo>
                  <a:pt x="6780" y="2656"/>
                </a:lnTo>
                <a:lnTo>
                  <a:pt x="6658" y="2656"/>
                </a:lnTo>
                <a:lnTo>
                  <a:pt x="6658" y="2546"/>
                </a:lnTo>
                <a:lnTo>
                  <a:pt x="6780" y="2546"/>
                </a:lnTo>
                <a:lnTo>
                  <a:pt x="6780" y="2484"/>
                </a:lnTo>
                <a:lnTo>
                  <a:pt x="6658" y="2484"/>
                </a:lnTo>
                <a:lnTo>
                  <a:pt x="6658" y="2374"/>
                </a:lnTo>
                <a:lnTo>
                  <a:pt x="6780" y="2374"/>
                </a:lnTo>
                <a:lnTo>
                  <a:pt x="6780" y="2325"/>
                </a:lnTo>
                <a:lnTo>
                  <a:pt x="6658" y="2325"/>
                </a:lnTo>
                <a:lnTo>
                  <a:pt x="6658" y="2215"/>
                </a:lnTo>
                <a:lnTo>
                  <a:pt x="6780" y="2215"/>
                </a:lnTo>
                <a:lnTo>
                  <a:pt x="6780" y="2154"/>
                </a:lnTo>
                <a:lnTo>
                  <a:pt x="6658" y="2154"/>
                </a:lnTo>
                <a:lnTo>
                  <a:pt x="6658" y="2044"/>
                </a:lnTo>
                <a:lnTo>
                  <a:pt x="6780" y="2044"/>
                </a:lnTo>
                <a:lnTo>
                  <a:pt x="6780" y="1995"/>
                </a:lnTo>
                <a:lnTo>
                  <a:pt x="6658" y="1995"/>
                </a:lnTo>
                <a:lnTo>
                  <a:pt x="6658" y="1885"/>
                </a:lnTo>
                <a:lnTo>
                  <a:pt x="6780" y="1885"/>
                </a:lnTo>
                <a:lnTo>
                  <a:pt x="6780" y="1824"/>
                </a:lnTo>
                <a:lnTo>
                  <a:pt x="6658" y="1824"/>
                </a:lnTo>
                <a:lnTo>
                  <a:pt x="6658" y="1713"/>
                </a:lnTo>
                <a:lnTo>
                  <a:pt x="6780" y="1713"/>
                </a:lnTo>
                <a:lnTo>
                  <a:pt x="6780" y="1664"/>
                </a:lnTo>
                <a:lnTo>
                  <a:pt x="6658" y="1664"/>
                </a:lnTo>
                <a:lnTo>
                  <a:pt x="6658" y="1554"/>
                </a:lnTo>
                <a:lnTo>
                  <a:pt x="6780" y="1554"/>
                </a:lnTo>
                <a:lnTo>
                  <a:pt x="6780" y="1493"/>
                </a:lnTo>
                <a:lnTo>
                  <a:pt x="6658" y="1493"/>
                </a:lnTo>
                <a:lnTo>
                  <a:pt x="6658" y="1383"/>
                </a:lnTo>
                <a:lnTo>
                  <a:pt x="6780" y="1383"/>
                </a:lnTo>
                <a:lnTo>
                  <a:pt x="6780" y="1334"/>
                </a:lnTo>
                <a:lnTo>
                  <a:pt x="6658" y="1334"/>
                </a:lnTo>
                <a:lnTo>
                  <a:pt x="6658" y="1163"/>
                </a:lnTo>
                <a:lnTo>
                  <a:pt x="6621" y="1163"/>
                </a:lnTo>
                <a:lnTo>
                  <a:pt x="6621" y="1334"/>
                </a:lnTo>
                <a:lnTo>
                  <a:pt x="6389" y="1334"/>
                </a:lnTo>
                <a:lnTo>
                  <a:pt x="6389" y="1065"/>
                </a:lnTo>
                <a:lnTo>
                  <a:pt x="6217" y="1065"/>
                </a:lnTo>
                <a:lnTo>
                  <a:pt x="6217" y="1334"/>
                </a:lnTo>
                <a:lnTo>
                  <a:pt x="5985" y="1334"/>
                </a:lnTo>
                <a:lnTo>
                  <a:pt x="5985" y="1163"/>
                </a:lnTo>
                <a:lnTo>
                  <a:pt x="5948" y="1163"/>
                </a:lnTo>
                <a:lnTo>
                  <a:pt x="5948" y="1334"/>
                </a:lnTo>
                <a:lnTo>
                  <a:pt x="5850" y="1334"/>
                </a:lnTo>
                <a:lnTo>
                  <a:pt x="5850" y="1383"/>
                </a:lnTo>
                <a:lnTo>
                  <a:pt x="5948" y="1383"/>
                </a:lnTo>
                <a:lnTo>
                  <a:pt x="5948" y="1493"/>
                </a:lnTo>
                <a:lnTo>
                  <a:pt x="5850" y="1493"/>
                </a:lnTo>
                <a:lnTo>
                  <a:pt x="5850" y="1554"/>
                </a:lnTo>
                <a:lnTo>
                  <a:pt x="5948" y="1554"/>
                </a:lnTo>
                <a:lnTo>
                  <a:pt x="5948" y="1664"/>
                </a:lnTo>
                <a:lnTo>
                  <a:pt x="5850" y="1664"/>
                </a:lnTo>
                <a:lnTo>
                  <a:pt x="5850" y="1713"/>
                </a:lnTo>
                <a:lnTo>
                  <a:pt x="5948" y="1713"/>
                </a:lnTo>
                <a:lnTo>
                  <a:pt x="5948" y="1824"/>
                </a:lnTo>
                <a:lnTo>
                  <a:pt x="5850" y="1824"/>
                </a:lnTo>
                <a:lnTo>
                  <a:pt x="5850" y="1885"/>
                </a:lnTo>
                <a:lnTo>
                  <a:pt x="5948" y="1885"/>
                </a:lnTo>
                <a:lnTo>
                  <a:pt x="5948" y="1995"/>
                </a:lnTo>
                <a:lnTo>
                  <a:pt x="5850" y="1995"/>
                </a:lnTo>
                <a:lnTo>
                  <a:pt x="5850" y="2044"/>
                </a:lnTo>
                <a:lnTo>
                  <a:pt x="5948" y="2044"/>
                </a:lnTo>
                <a:lnTo>
                  <a:pt x="5948" y="2154"/>
                </a:lnTo>
                <a:lnTo>
                  <a:pt x="5850" y="2154"/>
                </a:lnTo>
                <a:lnTo>
                  <a:pt x="5850" y="2215"/>
                </a:lnTo>
                <a:lnTo>
                  <a:pt x="5948" y="2215"/>
                </a:lnTo>
                <a:lnTo>
                  <a:pt x="5948" y="2325"/>
                </a:lnTo>
                <a:lnTo>
                  <a:pt x="5850" y="2325"/>
                </a:lnTo>
                <a:lnTo>
                  <a:pt x="5850" y="2374"/>
                </a:lnTo>
                <a:lnTo>
                  <a:pt x="5948" y="2374"/>
                </a:lnTo>
                <a:lnTo>
                  <a:pt x="5948" y="2484"/>
                </a:lnTo>
                <a:lnTo>
                  <a:pt x="5850" y="2484"/>
                </a:lnTo>
                <a:lnTo>
                  <a:pt x="5850" y="2546"/>
                </a:lnTo>
                <a:lnTo>
                  <a:pt x="5948" y="2546"/>
                </a:lnTo>
                <a:lnTo>
                  <a:pt x="5948" y="2656"/>
                </a:lnTo>
                <a:lnTo>
                  <a:pt x="5850" y="2656"/>
                </a:lnTo>
                <a:lnTo>
                  <a:pt x="5850" y="2705"/>
                </a:lnTo>
                <a:lnTo>
                  <a:pt x="5948" y="2705"/>
                </a:lnTo>
                <a:lnTo>
                  <a:pt x="5948" y="2815"/>
                </a:lnTo>
                <a:lnTo>
                  <a:pt x="5850" y="2815"/>
                </a:lnTo>
                <a:lnTo>
                  <a:pt x="5850" y="2876"/>
                </a:lnTo>
                <a:lnTo>
                  <a:pt x="5948" y="2876"/>
                </a:lnTo>
                <a:lnTo>
                  <a:pt x="5948" y="2974"/>
                </a:lnTo>
                <a:lnTo>
                  <a:pt x="5740" y="2974"/>
                </a:lnTo>
                <a:lnTo>
                  <a:pt x="5740" y="3329"/>
                </a:lnTo>
                <a:lnTo>
                  <a:pt x="5569" y="3243"/>
                </a:lnTo>
                <a:lnTo>
                  <a:pt x="5373" y="3341"/>
                </a:lnTo>
                <a:lnTo>
                  <a:pt x="5373" y="3341"/>
                </a:lnTo>
                <a:lnTo>
                  <a:pt x="5312" y="3341"/>
                </a:lnTo>
                <a:lnTo>
                  <a:pt x="5312" y="3207"/>
                </a:lnTo>
                <a:lnTo>
                  <a:pt x="5373" y="3207"/>
                </a:lnTo>
                <a:lnTo>
                  <a:pt x="5373" y="3182"/>
                </a:lnTo>
                <a:lnTo>
                  <a:pt x="5312" y="3182"/>
                </a:lnTo>
                <a:lnTo>
                  <a:pt x="5312" y="3047"/>
                </a:lnTo>
                <a:lnTo>
                  <a:pt x="5373" y="3047"/>
                </a:lnTo>
                <a:lnTo>
                  <a:pt x="5373" y="3023"/>
                </a:lnTo>
                <a:lnTo>
                  <a:pt x="5312" y="3023"/>
                </a:lnTo>
                <a:lnTo>
                  <a:pt x="5312" y="2901"/>
                </a:lnTo>
                <a:lnTo>
                  <a:pt x="5275" y="2901"/>
                </a:lnTo>
                <a:lnTo>
                  <a:pt x="5275" y="3023"/>
                </a:lnTo>
                <a:lnTo>
                  <a:pt x="5189" y="3023"/>
                </a:lnTo>
                <a:lnTo>
                  <a:pt x="5189" y="2962"/>
                </a:lnTo>
                <a:lnTo>
                  <a:pt x="5165" y="2962"/>
                </a:lnTo>
                <a:lnTo>
                  <a:pt x="5165" y="2876"/>
                </a:lnTo>
                <a:lnTo>
                  <a:pt x="5238" y="2876"/>
                </a:lnTo>
                <a:lnTo>
                  <a:pt x="5238" y="3023"/>
                </a:lnTo>
                <a:lnTo>
                  <a:pt x="5275" y="3023"/>
                </a:lnTo>
                <a:lnTo>
                  <a:pt x="5275" y="2876"/>
                </a:lnTo>
                <a:lnTo>
                  <a:pt x="5336" y="2876"/>
                </a:lnTo>
                <a:lnTo>
                  <a:pt x="5336" y="2839"/>
                </a:lnTo>
                <a:lnTo>
                  <a:pt x="5275" y="2839"/>
                </a:lnTo>
                <a:lnTo>
                  <a:pt x="5275" y="2705"/>
                </a:lnTo>
                <a:lnTo>
                  <a:pt x="5336" y="2705"/>
                </a:lnTo>
                <a:lnTo>
                  <a:pt x="5336" y="2680"/>
                </a:lnTo>
                <a:lnTo>
                  <a:pt x="5275" y="2680"/>
                </a:lnTo>
                <a:lnTo>
                  <a:pt x="5275" y="2546"/>
                </a:lnTo>
                <a:lnTo>
                  <a:pt x="5336" y="2546"/>
                </a:lnTo>
                <a:lnTo>
                  <a:pt x="5336" y="2509"/>
                </a:lnTo>
                <a:lnTo>
                  <a:pt x="5275" y="2509"/>
                </a:lnTo>
                <a:lnTo>
                  <a:pt x="5275" y="2374"/>
                </a:lnTo>
                <a:lnTo>
                  <a:pt x="5336" y="2374"/>
                </a:lnTo>
                <a:lnTo>
                  <a:pt x="5336" y="2350"/>
                </a:lnTo>
                <a:lnTo>
                  <a:pt x="5275" y="2350"/>
                </a:lnTo>
                <a:lnTo>
                  <a:pt x="5275" y="2240"/>
                </a:lnTo>
                <a:lnTo>
                  <a:pt x="5324" y="2240"/>
                </a:lnTo>
                <a:lnTo>
                  <a:pt x="5324" y="2203"/>
                </a:lnTo>
                <a:lnTo>
                  <a:pt x="5275" y="2203"/>
                </a:lnTo>
                <a:lnTo>
                  <a:pt x="5275" y="2081"/>
                </a:lnTo>
                <a:lnTo>
                  <a:pt x="5324" y="2081"/>
                </a:lnTo>
                <a:lnTo>
                  <a:pt x="5324" y="2044"/>
                </a:lnTo>
                <a:lnTo>
                  <a:pt x="5275" y="2044"/>
                </a:lnTo>
                <a:lnTo>
                  <a:pt x="5275" y="1909"/>
                </a:lnTo>
                <a:lnTo>
                  <a:pt x="5324" y="1909"/>
                </a:lnTo>
                <a:lnTo>
                  <a:pt x="5324" y="1885"/>
                </a:lnTo>
                <a:lnTo>
                  <a:pt x="5275" y="1885"/>
                </a:lnTo>
                <a:lnTo>
                  <a:pt x="5275" y="1750"/>
                </a:lnTo>
                <a:lnTo>
                  <a:pt x="5324" y="1750"/>
                </a:lnTo>
                <a:lnTo>
                  <a:pt x="5324" y="1713"/>
                </a:lnTo>
                <a:lnTo>
                  <a:pt x="5275" y="1713"/>
                </a:lnTo>
                <a:lnTo>
                  <a:pt x="5275" y="1456"/>
                </a:lnTo>
                <a:lnTo>
                  <a:pt x="5238" y="1456"/>
                </a:lnTo>
                <a:lnTo>
                  <a:pt x="5238" y="1713"/>
                </a:lnTo>
                <a:lnTo>
                  <a:pt x="5165" y="1713"/>
                </a:lnTo>
                <a:lnTo>
                  <a:pt x="5165" y="1542"/>
                </a:lnTo>
                <a:lnTo>
                  <a:pt x="5128" y="1542"/>
                </a:lnTo>
                <a:lnTo>
                  <a:pt x="5128" y="1713"/>
                </a:lnTo>
                <a:lnTo>
                  <a:pt x="4957" y="1713"/>
                </a:lnTo>
                <a:lnTo>
                  <a:pt x="4957" y="1456"/>
                </a:lnTo>
                <a:lnTo>
                  <a:pt x="4932" y="1456"/>
                </a:lnTo>
                <a:lnTo>
                  <a:pt x="4932" y="1713"/>
                </a:lnTo>
                <a:lnTo>
                  <a:pt x="4847" y="1713"/>
                </a:lnTo>
                <a:lnTo>
                  <a:pt x="4847" y="1542"/>
                </a:lnTo>
                <a:lnTo>
                  <a:pt x="4810" y="1542"/>
                </a:lnTo>
                <a:lnTo>
                  <a:pt x="4810" y="1713"/>
                </a:lnTo>
                <a:lnTo>
                  <a:pt x="4638" y="1713"/>
                </a:lnTo>
                <a:lnTo>
                  <a:pt x="4638" y="1456"/>
                </a:lnTo>
                <a:lnTo>
                  <a:pt x="4614" y="1456"/>
                </a:lnTo>
                <a:lnTo>
                  <a:pt x="4614" y="1713"/>
                </a:lnTo>
                <a:lnTo>
                  <a:pt x="4528" y="1713"/>
                </a:lnTo>
                <a:lnTo>
                  <a:pt x="4528" y="1701"/>
                </a:lnTo>
                <a:lnTo>
                  <a:pt x="4492" y="1701"/>
                </a:lnTo>
                <a:lnTo>
                  <a:pt x="4492" y="1713"/>
                </a:lnTo>
                <a:lnTo>
                  <a:pt x="4455" y="1713"/>
                </a:lnTo>
                <a:lnTo>
                  <a:pt x="4455" y="1750"/>
                </a:lnTo>
                <a:lnTo>
                  <a:pt x="4492" y="1750"/>
                </a:lnTo>
                <a:lnTo>
                  <a:pt x="4492" y="1885"/>
                </a:lnTo>
                <a:lnTo>
                  <a:pt x="4455" y="1885"/>
                </a:lnTo>
                <a:lnTo>
                  <a:pt x="4455" y="1909"/>
                </a:lnTo>
                <a:lnTo>
                  <a:pt x="4492" y="1909"/>
                </a:lnTo>
                <a:lnTo>
                  <a:pt x="4492" y="2044"/>
                </a:lnTo>
                <a:lnTo>
                  <a:pt x="4455" y="2044"/>
                </a:lnTo>
                <a:lnTo>
                  <a:pt x="4455" y="2081"/>
                </a:lnTo>
                <a:lnTo>
                  <a:pt x="4492" y="2081"/>
                </a:lnTo>
                <a:lnTo>
                  <a:pt x="4492" y="2203"/>
                </a:lnTo>
                <a:lnTo>
                  <a:pt x="4455" y="2203"/>
                </a:lnTo>
                <a:lnTo>
                  <a:pt x="4455" y="2240"/>
                </a:lnTo>
                <a:lnTo>
                  <a:pt x="4492" y="2240"/>
                </a:lnTo>
                <a:lnTo>
                  <a:pt x="4492" y="2350"/>
                </a:lnTo>
                <a:lnTo>
                  <a:pt x="4455" y="2350"/>
                </a:lnTo>
                <a:lnTo>
                  <a:pt x="4455" y="2374"/>
                </a:lnTo>
                <a:lnTo>
                  <a:pt x="4492" y="2374"/>
                </a:lnTo>
                <a:lnTo>
                  <a:pt x="4492" y="2509"/>
                </a:lnTo>
                <a:lnTo>
                  <a:pt x="4455" y="2509"/>
                </a:lnTo>
                <a:lnTo>
                  <a:pt x="4455" y="2546"/>
                </a:lnTo>
                <a:lnTo>
                  <a:pt x="4492" y="2546"/>
                </a:lnTo>
                <a:lnTo>
                  <a:pt x="4492" y="2680"/>
                </a:lnTo>
                <a:lnTo>
                  <a:pt x="4455" y="2680"/>
                </a:lnTo>
                <a:lnTo>
                  <a:pt x="4455" y="2705"/>
                </a:lnTo>
                <a:lnTo>
                  <a:pt x="4492" y="2705"/>
                </a:lnTo>
                <a:lnTo>
                  <a:pt x="4492" y="2839"/>
                </a:lnTo>
                <a:lnTo>
                  <a:pt x="4455" y="2839"/>
                </a:lnTo>
                <a:lnTo>
                  <a:pt x="4455" y="2876"/>
                </a:lnTo>
                <a:lnTo>
                  <a:pt x="4492" y="2876"/>
                </a:lnTo>
                <a:lnTo>
                  <a:pt x="4492" y="3023"/>
                </a:lnTo>
                <a:lnTo>
                  <a:pt x="4528" y="3023"/>
                </a:lnTo>
                <a:lnTo>
                  <a:pt x="4528" y="2876"/>
                </a:lnTo>
                <a:lnTo>
                  <a:pt x="4614" y="2876"/>
                </a:lnTo>
                <a:lnTo>
                  <a:pt x="4614" y="2901"/>
                </a:lnTo>
                <a:lnTo>
                  <a:pt x="4590" y="2901"/>
                </a:lnTo>
                <a:lnTo>
                  <a:pt x="4590" y="3023"/>
                </a:lnTo>
                <a:lnTo>
                  <a:pt x="4418" y="3023"/>
                </a:lnTo>
                <a:lnTo>
                  <a:pt x="4418" y="3047"/>
                </a:lnTo>
                <a:lnTo>
                  <a:pt x="4590" y="3047"/>
                </a:lnTo>
                <a:lnTo>
                  <a:pt x="4590" y="3182"/>
                </a:lnTo>
                <a:lnTo>
                  <a:pt x="4504" y="3182"/>
                </a:lnTo>
                <a:lnTo>
                  <a:pt x="4504" y="3060"/>
                </a:lnTo>
                <a:lnTo>
                  <a:pt x="4467" y="3060"/>
                </a:lnTo>
                <a:lnTo>
                  <a:pt x="4467" y="3182"/>
                </a:lnTo>
                <a:lnTo>
                  <a:pt x="4418" y="3182"/>
                </a:lnTo>
                <a:lnTo>
                  <a:pt x="4418" y="3207"/>
                </a:lnTo>
                <a:lnTo>
                  <a:pt x="4467" y="3207"/>
                </a:lnTo>
                <a:lnTo>
                  <a:pt x="4467" y="3341"/>
                </a:lnTo>
                <a:lnTo>
                  <a:pt x="4418" y="3341"/>
                </a:lnTo>
                <a:lnTo>
                  <a:pt x="4418" y="3378"/>
                </a:lnTo>
                <a:lnTo>
                  <a:pt x="4467" y="3378"/>
                </a:lnTo>
                <a:lnTo>
                  <a:pt x="4467" y="3464"/>
                </a:lnTo>
                <a:lnTo>
                  <a:pt x="4455" y="3464"/>
                </a:lnTo>
                <a:lnTo>
                  <a:pt x="4455" y="3500"/>
                </a:lnTo>
                <a:lnTo>
                  <a:pt x="4467" y="3500"/>
                </a:lnTo>
                <a:lnTo>
                  <a:pt x="4467" y="3525"/>
                </a:lnTo>
                <a:lnTo>
                  <a:pt x="4418" y="3525"/>
                </a:lnTo>
                <a:lnTo>
                  <a:pt x="4418" y="3549"/>
                </a:lnTo>
                <a:lnTo>
                  <a:pt x="4467" y="3549"/>
                </a:lnTo>
                <a:lnTo>
                  <a:pt x="4467" y="3549"/>
                </a:lnTo>
                <a:lnTo>
                  <a:pt x="4455" y="3549"/>
                </a:lnTo>
                <a:lnTo>
                  <a:pt x="4455" y="3586"/>
                </a:lnTo>
                <a:lnTo>
                  <a:pt x="4467" y="3586"/>
                </a:lnTo>
                <a:lnTo>
                  <a:pt x="4467" y="3659"/>
                </a:lnTo>
                <a:lnTo>
                  <a:pt x="4467" y="3659"/>
                </a:lnTo>
                <a:lnTo>
                  <a:pt x="4467" y="3684"/>
                </a:lnTo>
                <a:lnTo>
                  <a:pt x="4418" y="3684"/>
                </a:lnTo>
                <a:lnTo>
                  <a:pt x="4418" y="3708"/>
                </a:lnTo>
                <a:lnTo>
                  <a:pt x="4467" y="3708"/>
                </a:lnTo>
                <a:lnTo>
                  <a:pt x="4467" y="3745"/>
                </a:lnTo>
                <a:lnTo>
                  <a:pt x="4467" y="3745"/>
                </a:lnTo>
                <a:lnTo>
                  <a:pt x="4467" y="3782"/>
                </a:lnTo>
                <a:lnTo>
                  <a:pt x="4467" y="3782"/>
                </a:lnTo>
                <a:lnTo>
                  <a:pt x="4467" y="3818"/>
                </a:lnTo>
                <a:lnTo>
                  <a:pt x="4320" y="3818"/>
                </a:lnTo>
                <a:lnTo>
                  <a:pt x="4320" y="3806"/>
                </a:lnTo>
                <a:lnTo>
                  <a:pt x="4320" y="3721"/>
                </a:lnTo>
                <a:lnTo>
                  <a:pt x="4320" y="3439"/>
                </a:lnTo>
                <a:lnTo>
                  <a:pt x="4320" y="3366"/>
                </a:lnTo>
                <a:lnTo>
                  <a:pt x="4320" y="3072"/>
                </a:lnTo>
                <a:lnTo>
                  <a:pt x="4320" y="2998"/>
                </a:lnTo>
                <a:lnTo>
                  <a:pt x="4320" y="2717"/>
                </a:lnTo>
                <a:lnTo>
                  <a:pt x="4320" y="2705"/>
                </a:lnTo>
                <a:lnTo>
                  <a:pt x="4418" y="2705"/>
                </a:lnTo>
                <a:lnTo>
                  <a:pt x="4418" y="2215"/>
                </a:lnTo>
                <a:lnTo>
                  <a:pt x="4296" y="2215"/>
                </a:lnTo>
                <a:lnTo>
                  <a:pt x="4296" y="2154"/>
                </a:lnTo>
                <a:lnTo>
                  <a:pt x="4369" y="2154"/>
                </a:lnTo>
                <a:lnTo>
                  <a:pt x="4369" y="2117"/>
                </a:lnTo>
                <a:lnTo>
                  <a:pt x="4296" y="2117"/>
                </a:lnTo>
                <a:lnTo>
                  <a:pt x="4296" y="2056"/>
                </a:lnTo>
                <a:lnTo>
                  <a:pt x="4369" y="2056"/>
                </a:lnTo>
                <a:lnTo>
                  <a:pt x="4369" y="2032"/>
                </a:lnTo>
                <a:lnTo>
                  <a:pt x="4296" y="2032"/>
                </a:lnTo>
                <a:lnTo>
                  <a:pt x="4296" y="1970"/>
                </a:lnTo>
                <a:lnTo>
                  <a:pt x="4369" y="1970"/>
                </a:lnTo>
                <a:lnTo>
                  <a:pt x="4369" y="1934"/>
                </a:lnTo>
                <a:lnTo>
                  <a:pt x="4296" y="1934"/>
                </a:lnTo>
                <a:lnTo>
                  <a:pt x="4296" y="1872"/>
                </a:lnTo>
                <a:lnTo>
                  <a:pt x="4369" y="1872"/>
                </a:lnTo>
                <a:lnTo>
                  <a:pt x="4369" y="1836"/>
                </a:lnTo>
                <a:lnTo>
                  <a:pt x="4296" y="1836"/>
                </a:lnTo>
                <a:lnTo>
                  <a:pt x="4296" y="1775"/>
                </a:lnTo>
                <a:lnTo>
                  <a:pt x="4369" y="1775"/>
                </a:lnTo>
                <a:lnTo>
                  <a:pt x="4369" y="1738"/>
                </a:lnTo>
                <a:lnTo>
                  <a:pt x="4296" y="1738"/>
                </a:lnTo>
                <a:lnTo>
                  <a:pt x="4296" y="1677"/>
                </a:lnTo>
                <a:lnTo>
                  <a:pt x="4369" y="1677"/>
                </a:lnTo>
                <a:lnTo>
                  <a:pt x="4369" y="1640"/>
                </a:lnTo>
                <a:lnTo>
                  <a:pt x="4296" y="1640"/>
                </a:lnTo>
                <a:lnTo>
                  <a:pt x="4296" y="1579"/>
                </a:lnTo>
                <a:lnTo>
                  <a:pt x="4369" y="1579"/>
                </a:lnTo>
                <a:lnTo>
                  <a:pt x="4369" y="1554"/>
                </a:lnTo>
                <a:lnTo>
                  <a:pt x="4296" y="1554"/>
                </a:lnTo>
                <a:lnTo>
                  <a:pt x="4296" y="1481"/>
                </a:lnTo>
                <a:lnTo>
                  <a:pt x="4369" y="1481"/>
                </a:lnTo>
                <a:lnTo>
                  <a:pt x="4369" y="1456"/>
                </a:lnTo>
                <a:lnTo>
                  <a:pt x="4296" y="1456"/>
                </a:lnTo>
                <a:lnTo>
                  <a:pt x="4296" y="1395"/>
                </a:lnTo>
                <a:lnTo>
                  <a:pt x="4369" y="1395"/>
                </a:lnTo>
                <a:lnTo>
                  <a:pt x="4369" y="1358"/>
                </a:lnTo>
                <a:lnTo>
                  <a:pt x="4296" y="1358"/>
                </a:lnTo>
                <a:lnTo>
                  <a:pt x="4296" y="1297"/>
                </a:lnTo>
                <a:lnTo>
                  <a:pt x="4369" y="1297"/>
                </a:lnTo>
                <a:lnTo>
                  <a:pt x="4369" y="1261"/>
                </a:lnTo>
                <a:lnTo>
                  <a:pt x="4296" y="1261"/>
                </a:lnTo>
                <a:lnTo>
                  <a:pt x="4296" y="1163"/>
                </a:lnTo>
                <a:lnTo>
                  <a:pt x="4271" y="1163"/>
                </a:lnTo>
                <a:lnTo>
                  <a:pt x="4271" y="1261"/>
                </a:lnTo>
                <a:lnTo>
                  <a:pt x="4137" y="1261"/>
                </a:lnTo>
                <a:lnTo>
                  <a:pt x="4137" y="1114"/>
                </a:lnTo>
                <a:lnTo>
                  <a:pt x="4039" y="1114"/>
                </a:lnTo>
                <a:lnTo>
                  <a:pt x="4039" y="1261"/>
                </a:lnTo>
                <a:lnTo>
                  <a:pt x="3904" y="1261"/>
                </a:lnTo>
                <a:lnTo>
                  <a:pt x="3904" y="1163"/>
                </a:lnTo>
                <a:lnTo>
                  <a:pt x="3892" y="1163"/>
                </a:lnTo>
                <a:lnTo>
                  <a:pt x="3892" y="1261"/>
                </a:lnTo>
                <a:lnTo>
                  <a:pt x="3831" y="1261"/>
                </a:lnTo>
                <a:lnTo>
                  <a:pt x="3831" y="1297"/>
                </a:lnTo>
                <a:lnTo>
                  <a:pt x="3892" y="1297"/>
                </a:lnTo>
                <a:lnTo>
                  <a:pt x="3892" y="1358"/>
                </a:lnTo>
                <a:lnTo>
                  <a:pt x="3831" y="1358"/>
                </a:lnTo>
                <a:lnTo>
                  <a:pt x="3831" y="1395"/>
                </a:lnTo>
                <a:lnTo>
                  <a:pt x="3892" y="1395"/>
                </a:lnTo>
                <a:lnTo>
                  <a:pt x="3892" y="1456"/>
                </a:lnTo>
                <a:lnTo>
                  <a:pt x="3831" y="1456"/>
                </a:lnTo>
                <a:lnTo>
                  <a:pt x="3831" y="1481"/>
                </a:lnTo>
                <a:lnTo>
                  <a:pt x="3892" y="1481"/>
                </a:lnTo>
                <a:lnTo>
                  <a:pt x="3892" y="1554"/>
                </a:lnTo>
                <a:lnTo>
                  <a:pt x="3831" y="1554"/>
                </a:lnTo>
                <a:lnTo>
                  <a:pt x="3831" y="1579"/>
                </a:lnTo>
                <a:lnTo>
                  <a:pt x="3892" y="1579"/>
                </a:lnTo>
                <a:lnTo>
                  <a:pt x="3892" y="1640"/>
                </a:lnTo>
                <a:lnTo>
                  <a:pt x="3831" y="1640"/>
                </a:lnTo>
                <a:lnTo>
                  <a:pt x="3831" y="1677"/>
                </a:lnTo>
                <a:lnTo>
                  <a:pt x="3892" y="1677"/>
                </a:lnTo>
                <a:lnTo>
                  <a:pt x="3892" y="1738"/>
                </a:lnTo>
                <a:lnTo>
                  <a:pt x="3831" y="1738"/>
                </a:lnTo>
                <a:lnTo>
                  <a:pt x="3831" y="1775"/>
                </a:lnTo>
                <a:lnTo>
                  <a:pt x="3892" y="1775"/>
                </a:lnTo>
                <a:lnTo>
                  <a:pt x="3892" y="1836"/>
                </a:lnTo>
                <a:lnTo>
                  <a:pt x="3831" y="1836"/>
                </a:lnTo>
                <a:lnTo>
                  <a:pt x="3831" y="1872"/>
                </a:lnTo>
                <a:lnTo>
                  <a:pt x="3892" y="1872"/>
                </a:lnTo>
                <a:lnTo>
                  <a:pt x="3892" y="1934"/>
                </a:lnTo>
                <a:lnTo>
                  <a:pt x="3831" y="1934"/>
                </a:lnTo>
                <a:lnTo>
                  <a:pt x="3831" y="1970"/>
                </a:lnTo>
                <a:lnTo>
                  <a:pt x="3892" y="1970"/>
                </a:lnTo>
                <a:lnTo>
                  <a:pt x="3892" y="2032"/>
                </a:lnTo>
                <a:lnTo>
                  <a:pt x="3831" y="2032"/>
                </a:lnTo>
                <a:lnTo>
                  <a:pt x="3831" y="2056"/>
                </a:lnTo>
                <a:lnTo>
                  <a:pt x="3892" y="2056"/>
                </a:lnTo>
                <a:lnTo>
                  <a:pt x="3892" y="2117"/>
                </a:lnTo>
                <a:lnTo>
                  <a:pt x="3831" y="2117"/>
                </a:lnTo>
                <a:lnTo>
                  <a:pt x="3831" y="2154"/>
                </a:lnTo>
                <a:lnTo>
                  <a:pt x="3892" y="2154"/>
                </a:lnTo>
                <a:lnTo>
                  <a:pt x="3892" y="2215"/>
                </a:lnTo>
                <a:lnTo>
                  <a:pt x="3769" y="2215"/>
                </a:lnTo>
                <a:lnTo>
                  <a:pt x="3769" y="2705"/>
                </a:lnTo>
                <a:lnTo>
                  <a:pt x="3855" y="2705"/>
                </a:lnTo>
                <a:lnTo>
                  <a:pt x="3855" y="3818"/>
                </a:lnTo>
                <a:lnTo>
                  <a:pt x="3696" y="3818"/>
                </a:lnTo>
                <a:lnTo>
                  <a:pt x="3696" y="3402"/>
                </a:lnTo>
                <a:lnTo>
                  <a:pt x="3610" y="3402"/>
                </a:lnTo>
                <a:lnTo>
                  <a:pt x="3610" y="3304"/>
                </a:lnTo>
                <a:lnTo>
                  <a:pt x="3696" y="3304"/>
                </a:lnTo>
                <a:lnTo>
                  <a:pt x="3696" y="3280"/>
                </a:lnTo>
                <a:lnTo>
                  <a:pt x="3610" y="3280"/>
                </a:lnTo>
                <a:lnTo>
                  <a:pt x="3610" y="3158"/>
                </a:lnTo>
                <a:lnTo>
                  <a:pt x="3696" y="3158"/>
                </a:lnTo>
                <a:lnTo>
                  <a:pt x="3696" y="3121"/>
                </a:lnTo>
                <a:lnTo>
                  <a:pt x="3610" y="3121"/>
                </a:lnTo>
                <a:lnTo>
                  <a:pt x="3610" y="2998"/>
                </a:lnTo>
                <a:lnTo>
                  <a:pt x="3696" y="2998"/>
                </a:lnTo>
                <a:lnTo>
                  <a:pt x="3696" y="2974"/>
                </a:lnTo>
                <a:lnTo>
                  <a:pt x="3610" y="2974"/>
                </a:lnTo>
                <a:lnTo>
                  <a:pt x="3610" y="2852"/>
                </a:lnTo>
                <a:lnTo>
                  <a:pt x="3696" y="2852"/>
                </a:lnTo>
                <a:lnTo>
                  <a:pt x="3696" y="2815"/>
                </a:lnTo>
                <a:lnTo>
                  <a:pt x="3610" y="2815"/>
                </a:lnTo>
                <a:lnTo>
                  <a:pt x="3610" y="2680"/>
                </a:lnTo>
                <a:lnTo>
                  <a:pt x="3696" y="2680"/>
                </a:lnTo>
                <a:lnTo>
                  <a:pt x="3696" y="2656"/>
                </a:lnTo>
                <a:lnTo>
                  <a:pt x="3610" y="2656"/>
                </a:lnTo>
                <a:lnTo>
                  <a:pt x="3610" y="2509"/>
                </a:lnTo>
                <a:lnTo>
                  <a:pt x="3696" y="2509"/>
                </a:lnTo>
                <a:lnTo>
                  <a:pt x="3696" y="2484"/>
                </a:lnTo>
                <a:lnTo>
                  <a:pt x="3610" y="2484"/>
                </a:lnTo>
                <a:lnTo>
                  <a:pt x="3610" y="2276"/>
                </a:lnTo>
                <a:lnTo>
                  <a:pt x="3561" y="2276"/>
                </a:lnTo>
                <a:lnTo>
                  <a:pt x="3561" y="2484"/>
                </a:lnTo>
                <a:lnTo>
                  <a:pt x="3390" y="2484"/>
                </a:lnTo>
                <a:lnTo>
                  <a:pt x="3390" y="2276"/>
                </a:lnTo>
                <a:lnTo>
                  <a:pt x="3329" y="2276"/>
                </a:lnTo>
                <a:lnTo>
                  <a:pt x="3329" y="2484"/>
                </a:lnTo>
                <a:lnTo>
                  <a:pt x="3158" y="2484"/>
                </a:lnTo>
                <a:lnTo>
                  <a:pt x="3158" y="2276"/>
                </a:lnTo>
                <a:lnTo>
                  <a:pt x="3109" y="2276"/>
                </a:lnTo>
                <a:lnTo>
                  <a:pt x="3109" y="2484"/>
                </a:lnTo>
                <a:lnTo>
                  <a:pt x="2937" y="2484"/>
                </a:lnTo>
                <a:lnTo>
                  <a:pt x="2937" y="2276"/>
                </a:lnTo>
                <a:lnTo>
                  <a:pt x="2876" y="2276"/>
                </a:lnTo>
                <a:lnTo>
                  <a:pt x="2876" y="2607"/>
                </a:lnTo>
                <a:lnTo>
                  <a:pt x="2717" y="2607"/>
                </a:lnTo>
                <a:lnTo>
                  <a:pt x="2717" y="2276"/>
                </a:lnTo>
                <a:lnTo>
                  <a:pt x="2656" y="2276"/>
                </a:lnTo>
                <a:lnTo>
                  <a:pt x="2656" y="2692"/>
                </a:lnTo>
                <a:lnTo>
                  <a:pt x="2484" y="2692"/>
                </a:lnTo>
                <a:lnTo>
                  <a:pt x="2484" y="2276"/>
                </a:lnTo>
                <a:lnTo>
                  <a:pt x="2423" y="2276"/>
                </a:lnTo>
                <a:lnTo>
                  <a:pt x="2423" y="2815"/>
                </a:lnTo>
                <a:lnTo>
                  <a:pt x="2264" y="2815"/>
                </a:lnTo>
                <a:lnTo>
                  <a:pt x="2264" y="2276"/>
                </a:lnTo>
                <a:lnTo>
                  <a:pt x="2203" y="2276"/>
                </a:lnTo>
                <a:lnTo>
                  <a:pt x="2203" y="2815"/>
                </a:lnTo>
                <a:lnTo>
                  <a:pt x="2068" y="2815"/>
                </a:lnTo>
                <a:lnTo>
                  <a:pt x="2068" y="2852"/>
                </a:lnTo>
                <a:lnTo>
                  <a:pt x="2203" y="2852"/>
                </a:lnTo>
                <a:lnTo>
                  <a:pt x="2203" y="2974"/>
                </a:lnTo>
                <a:lnTo>
                  <a:pt x="2068" y="2974"/>
                </a:lnTo>
                <a:lnTo>
                  <a:pt x="2068" y="2998"/>
                </a:lnTo>
                <a:lnTo>
                  <a:pt x="2203" y="2998"/>
                </a:lnTo>
                <a:lnTo>
                  <a:pt x="2203" y="3121"/>
                </a:lnTo>
                <a:lnTo>
                  <a:pt x="2068" y="3121"/>
                </a:lnTo>
                <a:lnTo>
                  <a:pt x="2068" y="3158"/>
                </a:lnTo>
                <a:lnTo>
                  <a:pt x="2203" y="3158"/>
                </a:lnTo>
                <a:lnTo>
                  <a:pt x="2203" y="3280"/>
                </a:lnTo>
                <a:lnTo>
                  <a:pt x="2068" y="3280"/>
                </a:lnTo>
                <a:lnTo>
                  <a:pt x="2068" y="3304"/>
                </a:lnTo>
                <a:lnTo>
                  <a:pt x="2203" y="3304"/>
                </a:lnTo>
                <a:lnTo>
                  <a:pt x="2203" y="3402"/>
                </a:lnTo>
                <a:lnTo>
                  <a:pt x="2068" y="3402"/>
                </a:lnTo>
                <a:lnTo>
                  <a:pt x="2068" y="3818"/>
                </a:lnTo>
                <a:lnTo>
                  <a:pt x="2044" y="3818"/>
                </a:lnTo>
                <a:lnTo>
                  <a:pt x="2044" y="3610"/>
                </a:lnTo>
                <a:lnTo>
                  <a:pt x="2044" y="3549"/>
                </a:lnTo>
                <a:lnTo>
                  <a:pt x="2044" y="3329"/>
                </a:lnTo>
                <a:lnTo>
                  <a:pt x="2044" y="3280"/>
                </a:lnTo>
                <a:lnTo>
                  <a:pt x="2044" y="3060"/>
                </a:lnTo>
                <a:lnTo>
                  <a:pt x="2044" y="2998"/>
                </a:lnTo>
                <a:lnTo>
                  <a:pt x="2044" y="2925"/>
                </a:lnTo>
                <a:lnTo>
                  <a:pt x="1995" y="2925"/>
                </a:lnTo>
                <a:lnTo>
                  <a:pt x="1995" y="2998"/>
                </a:lnTo>
                <a:lnTo>
                  <a:pt x="1762" y="2998"/>
                </a:lnTo>
                <a:lnTo>
                  <a:pt x="1762" y="2925"/>
                </a:lnTo>
                <a:lnTo>
                  <a:pt x="1701" y="2925"/>
                </a:lnTo>
                <a:lnTo>
                  <a:pt x="1701" y="3818"/>
                </a:lnTo>
                <a:lnTo>
                  <a:pt x="1579" y="3818"/>
                </a:lnTo>
                <a:lnTo>
                  <a:pt x="1579" y="3769"/>
                </a:lnTo>
                <a:lnTo>
                  <a:pt x="1640" y="3769"/>
                </a:lnTo>
                <a:lnTo>
                  <a:pt x="1640" y="3745"/>
                </a:lnTo>
                <a:lnTo>
                  <a:pt x="1579" y="3745"/>
                </a:lnTo>
                <a:lnTo>
                  <a:pt x="1579" y="3610"/>
                </a:lnTo>
                <a:lnTo>
                  <a:pt x="1640" y="3610"/>
                </a:lnTo>
                <a:lnTo>
                  <a:pt x="1640" y="3574"/>
                </a:lnTo>
                <a:lnTo>
                  <a:pt x="1579" y="3574"/>
                </a:lnTo>
                <a:lnTo>
                  <a:pt x="1579" y="3439"/>
                </a:lnTo>
                <a:lnTo>
                  <a:pt x="1640" y="3439"/>
                </a:lnTo>
                <a:lnTo>
                  <a:pt x="1640" y="3415"/>
                </a:lnTo>
                <a:lnTo>
                  <a:pt x="1579" y="3415"/>
                </a:lnTo>
                <a:lnTo>
                  <a:pt x="1579" y="3280"/>
                </a:lnTo>
                <a:lnTo>
                  <a:pt x="1640" y="3280"/>
                </a:lnTo>
                <a:lnTo>
                  <a:pt x="1640" y="3243"/>
                </a:lnTo>
                <a:lnTo>
                  <a:pt x="1579" y="3243"/>
                </a:lnTo>
                <a:lnTo>
                  <a:pt x="1579" y="3145"/>
                </a:lnTo>
                <a:lnTo>
                  <a:pt x="1628" y="3145"/>
                </a:lnTo>
                <a:lnTo>
                  <a:pt x="1628" y="3109"/>
                </a:lnTo>
                <a:lnTo>
                  <a:pt x="1579" y="3109"/>
                </a:lnTo>
                <a:lnTo>
                  <a:pt x="1579" y="2974"/>
                </a:lnTo>
                <a:lnTo>
                  <a:pt x="1628" y="2974"/>
                </a:lnTo>
                <a:lnTo>
                  <a:pt x="1628" y="2949"/>
                </a:lnTo>
                <a:lnTo>
                  <a:pt x="1579" y="2949"/>
                </a:lnTo>
                <a:lnTo>
                  <a:pt x="1579" y="2815"/>
                </a:lnTo>
                <a:lnTo>
                  <a:pt x="1628" y="2815"/>
                </a:lnTo>
                <a:lnTo>
                  <a:pt x="1628" y="2778"/>
                </a:lnTo>
                <a:lnTo>
                  <a:pt x="1579" y="2778"/>
                </a:lnTo>
                <a:lnTo>
                  <a:pt x="1579" y="2644"/>
                </a:lnTo>
                <a:lnTo>
                  <a:pt x="1628" y="2644"/>
                </a:lnTo>
                <a:lnTo>
                  <a:pt x="1628" y="2619"/>
                </a:lnTo>
                <a:lnTo>
                  <a:pt x="1579" y="2619"/>
                </a:lnTo>
                <a:lnTo>
                  <a:pt x="1579" y="2350"/>
                </a:lnTo>
                <a:lnTo>
                  <a:pt x="1542" y="2350"/>
                </a:lnTo>
                <a:lnTo>
                  <a:pt x="1542" y="2619"/>
                </a:lnTo>
                <a:lnTo>
                  <a:pt x="1456" y="2619"/>
                </a:lnTo>
                <a:lnTo>
                  <a:pt x="1456" y="2448"/>
                </a:lnTo>
                <a:lnTo>
                  <a:pt x="1432" y="2448"/>
                </a:lnTo>
                <a:lnTo>
                  <a:pt x="1432" y="2619"/>
                </a:lnTo>
                <a:lnTo>
                  <a:pt x="1358" y="2619"/>
                </a:lnTo>
                <a:lnTo>
                  <a:pt x="1358" y="2644"/>
                </a:lnTo>
                <a:lnTo>
                  <a:pt x="1432" y="2644"/>
                </a:lnTo>
                <a:lnTo>
                  <a:pt x="1432" y="2778"/>
                </a:lnTo>
                <a:lnTo>
                  <a:pt x="1358" y="2778"/>
                </a:lnTo>
                <a:lnTo>
                  <a:pt x="1358" y="2815"/>
                </a:lnTo>
                <a:lnTo>
                  <a:pt x="1432" y="2815"/>
                </a:lnTo>
                <a:lnTo>
                  <a:pt x="1432" y="2949"/>
                </a:lnTo>
                <a:lnTo>
                  <a:pt x="1358" y="2949"/>
                </a:lnTo>
                <a:lnTo>
                  <a:pt x="1358" y="2974"/>
                </a:lnTo>
                <a:lnTo>
                  <a:pt x="1432" y="2974"/>
                </a:lnTo>
                <a:lnTo>
                  <a:pt x="1432" y="3109"/>
                </a:lnTo>
                <a:lnTo>
                  <a:pt x="1358" y="3109"/>
                </a:lnTo>
                <a:lnTo>
                  <a:pt x="1358" y="3145"/>
                </a:lnTo>
                <a:lnTo>
                  <a:pt x="1432" y="3145"/>
                </a:lnTo>
                <a:lnTo>
                  <a:pt x="1432" y="3243"/>
                </a:lnTo>
                <a:lnTo>
                  <a:pt x="1358" y="3243"/>
                </a:lnTo>
                <a:lnTo>
                  <a:pt x="1358" y="3280"/>
                </a:lnTo>
                <a:lnTo>
                  <a:pt x="1432" y="3280"/>
                </a:lnTo>
                <a:lnTo>
                  <a:pt x="1432" y="3415"/>
                </a:lnTo>
                <a:lnTo>
                  <a:pt x="1358" y="3415"/>
                </a:lnTo>
                <a:lnTo>
                  <a:pt x="1358" y="3439"/>
                </a:lnTo>
                <a:lnTo>
                  <a:pt x="1432" y="3439"/>
                </a:lnTo>
                <a:lnTo>
                  <a:pt x="1432" y="3574"/>
                </a:lnTo>
                <a:lnTo>
                  <a:pt x="1358" y="3574"/>
                </a:lnTo>
                <a:lnTo>
                  <a:pt x="1358" y="3610"/>
                </a:lnTo>
                <a:lnTo>
                  <a:pt x="1432" y="3610"/>
                </a:lnTo>
                <a:lnTo>
                  <a:pt x="1432" y="3745"/>
                </a:lnTo>
                <a:lnTo>
                  <a:pt x="1358" y="3745"/>
                </a:lnTo>
                <a:lnTo>
                  <a:pt x="1358" y="3769"/>
                </a:lnTo>
                <a:lnTo>
                  <a:pt x="1432" y="3769"/>
                </a:lnTo>
                <a:lnTo>
                  <a:pt x="1432" y="3818"/>
                </a:lnTo>
                <a:lnTo>
                  <a:pt x="1138" y="3818"/>
                </a:lnTo>
                <a:lnTo>
                  <a:pt x="1138" y="2766"/>
                </a:lnTo>
                <a:lnTo>
                  <a:pt x="1138" y="2680"/>
                </a:lnTo>
                <a:lnTo>
                  <a:pt x="1138" y="1640"/>
                </a:lnTo>
                <a:lnTo>
                  <a:pt x="1065" y="1640"/>
                </a:lnTo>
                <a:lnTo>
                  <a:pt x="1065" y="930"/>
                </a:lnTo>
                <a:lnTo>
                  <a:pt x="1114" y="930"/>
                </a:lnTo>
                <a:lnTo>
                  <a:pt x="1114" y="844"/>
                </a:lnTo>
                <a:lnTo>
                  <a:pt x="1775" y="844"/>
                </a:lnTo>
                <a:lnTo>
                  <a:pt x="1823" y="844"/>
                </a:lnTo>
                <a:lnTo>
                  <a:pt x="2974" y="844"/>
                </a:lnTo>
                <a:lnTo>
                  <a:pt x="2974" y="808"/>
                </a:lnTo>
                <a:lnTo>
                  <a:pt x="2876" y="771"/>
                </a:lnTo>
                <a:lnTo>
                  <a:pt x="2876" y="771"/>
                </a:lnTo>
                <a:lnTo>
                  <a:pt x="930" y="0"/>
                </a:lnTo>
                <a:lnTo>
                  <a:pt x="281" y="600"/>
                </a:lnTo>
                <a:lnTo>
                  <a:pt x="281" y="587"/>
                </a:lnTo>
                <a:lnTo>
                  <a:pt x="0" y="587"/>
                </a:lnTo>
                <a:lnTo>
                  <a:pt x="0" y="893"/>
                </a:lnTo>
                <a:lnTo>
                  <a:pt x="281" y="893"/>
                </a:lnTo>
                <a:lnTo>
                  <a:pt x="281" y="844"/>
                </a:lnTo>
                <a:lnTo>
                  <a:pt x="771" y="844"/>
                </a:lnTo>
                <a:lnTo>
                  <a:pt x="771" y="930"/>
                </a:lnTo>
                <a:lnTo>
                  <a:pt x="820" y="930"/>
                </a:lnTo>
                <a:lnTo>
                  <a:pt x="820" y="967"/>
                </a:lnTo>
                <a:lnTo>
                  <a:pt x="820" y="1016"/>
                </a:lnTo>
                <a:lnTo>
                  <a:pt x="820" y="1163"/>
                </a:lnTo>
                <a:lnTo>
                  <a:pt x="820" y="1212"/>
                </a:lnTo>
                <a:lnTo>
                  <a:pt x="820" y="1371"/>
                </a:lnTo>
                <a:lnTo>
                  <a:pt x="820" y="1407"/>
                </a:lnTo>
                <a:lnTo>
                  <a:pt x="820" y="1640"/>
                </a:lnTo>
                <a:lnTo>
                  <a:pt x="759" y="1640"/>
                </a:lnTo>
                <a:lnTo>
                  <a:pt x="759" y="2680"/>
                </a:lnTo>
                <a:lnTo>
                  <a:pt x="759" y="2766"/>
                </a:lnTo>
                <a:lnTo>
                  <a:pt x="759" y="3818"/>
                </a:lnTo>
                <a:lnTo>
                  <a:pt x="355" y="3818"/>
                </a:lnTo>
                <a:lnTo>
                  <a:pt x="355" y="3990"/>
                </a:lnTo>
                <a:lnTo>
                  <a:pt x="9534" y="3990"/>
                </a:lnTo>
                <a:lnTo>
                  <a:pt x="9534" y="3818"/>
                </a:lnTo>
                <a:lnTo>
                  <a:pt x="9436" y="3818"/>
                </a:lnTo>
                <a:close/>
                <a:moveTo>
                  <a:pt x="5642" y="918"/>
                </a:moveTo>
                <a:lnTo>
                  <a:pt x="5495" y="918"/>
                </a:lnTo>
                <a:lnTo>
                  <a:pt x="5642" y="857"/>
                </a:lnTo>
                <a:lnTo>
                  <a:pt x="5642" y="918"/>
                </a:lnTo>
                <a:close/>
                <a:moveTo>
                  <a:pt x="5679" y="918"/>
                </a:moveTo>
                <a:lnTo>
                  <a:pt x="5679" y="844"/>
                </a:lnTo>
                <a:lnTo>
                  <a:pt x="5691" y="832"/>
                </a:lnTo>
                <a:lnTo>
                  <a:pt x="5777" y="918"/>
                </a:lnTo>
                <a:lnTo>
                  <a:pt x="5679" y="918"/>
                </a:lnTo>
                <a:close/>
                <a:moveTo>
                  <a:pt x="5789" y="906"/>
                </a:moveTo>
                <a:lnTo>
                  <a:pt x="5716" y="820"/>
                </a:lnTo>
                <a:lnTo>
                  <a:pt x="5789" y="795"/>
                </a:lnTo>
                <a:lnTo>
                  <a:pt x="5789" y="906"/>
                </a:lnTo>
                <a:close/>
                <a:moveTo>
                  <a:pt x="5813" y="808"/>
                </a:moveTo>
                <a:lnTo>
                  <a:pt x="5862" y="857"/>
                </a:lnTo>
                <a:lnTo>
                  <a:pt x="5813" y="893"/>
                </a:lnTo>
                <a:lnTo>
                  <a:pt x="5813" y="808"/>
                </a:lnTo>
                <a:close/>
                <a:moveTo>
                  <a:pt x="5838" y="783"/>
                </a:moveTo>
                <a:lnTo>
                  <a:pt x="5924" y="783"/>
                </a:lnTo>
                <a:lnTo>
                  <a:pt x="5875" y="832"/>
                </a:lnTo>
                <a:lnTo>
                  <a:pt x="5838" y="783"/>
                </a:lnTo>
                <a:close/>
                <a:moveTo>
                  <a:pt x="5826" y="918"/>
                </a:moveTo>
                <a:lnTo>
                  <a:pt x="5875" y="869"/>
                </a:lnTo>
                <a:lnTo>
                  <a:pt x="5924" y="918"/>
                </a:lnTo>
                <a:lnTo>
                  <a:pt x="5826" y="918"/>
                </a:lnTo>
                <a:close/>
                <a:moveTo>
                  <a:pt x="5936" y="893"/>
                </a:moveTo>
                <a:lnTo>
                  <a:pt x="5887" y="857"/>
                </a:lnTo>
                <a:lnTo>
                  <a:pt x="5936" y="808"/>
                </a:lnTo>
                <a:lnTo>
                  <a:pt x="5936" y="893"/>
                </a:lnTo>
                <a:close/>
                <a:moveTo>
                  <a:pt x="6009" y="857"/>
                </a:moveTo>
                <a:lnTo>
                  <a:pt x="5960" y="893"/>
                </a:lnTo>
                <a:lnTo>
                  <a:pt x="5960" y="808"/>
                </a:lnTo>
                <a:lnTo>
                  <a:pt x="6009" y="857"/>
                </a:lnTo>
                <a:close/>
                <a:moveTo>
                  <a:pt x="5973" y="783"/>
                </a:moveTo>
                <a:lnTo>
                  <a:pt x="6070" y="783"/>
                </a:lnTo>
                <a:lnTo>
                  <a:pt x="6021" y="832"/>
                </a:lnTo>
                <a:lnTo>
                  <a:pt x="5973" y="783"/>
                </a:lnTo>
                <a:close/>
                <a:moveTo>
                  <a:pt x="5973" y="918"/>
                </a:moveTo>
                <a:lnTo>
                  <a:pt x="6021" y="869"/>
                </a:lnTo>
                <a:lnTo>
                  <a:pt x="6070" y="918"/>
                </a:lnTo>
                <a:lnTo>
                  <a:pt x="5973" y="918"/>
                </a:lnTo>
                <a:close/>
                <a:moveTo>
                  <a:pt x="6083" y="893"/>
                </a:moveTo>
                <a:lnTo>
                  <a:pt x="6034" y="857"/>
                </a:lnTo>
                <a:lnTo>
                  <a:pt x="6083" y="808"/>
                </a:lnTo>
                <a:lnTo>
                  <a:pt x="6083" y="893"/>
                </a:lnTo>
                <a:close/>
                <a:moveTo>
                  <a:pt x="6156" y="857"/>
                </a:moveTo>
                <a:lnTo>
                  <a:pt x="6107" y="893"/>
                </a:lnTo>
                <a:lnTo>
                  <a:pt x="6107" y="808"/>
                </a:lnTo>
                <a:lnTo>
                  <a:pt x="6156" y="857"/>
                </a:lnTo>
                <a:close/>
                <a:moveTo>
                  <a:pt x="6119" y="783"/>
                </a:moveTo>
                <a:lnTo>
                  <a:pt x="6217" y="783"/>
                </a:lnTo>
                <a:lnTo>
                  <a:pt x="6168" y="832"/>
                </a:lnTo>
                <a:lnTo>
                  <a:pt x="6119" y="783"/>
                </a:lnTo>
                <a:close/>
                <a:moveTo>
                  <a:pt x="6119" y="918"/>
                </a:moveTo>
                <a:lnTo>
                  <a:pt x="6168" y="869"/>
                </a:lnTo>
                <a:lnTo>
                  <a:pt x="6217" y="918"/>
                </a:lnTo>
                <a:lnTo>
                  <a:pt x="6119" y="918"/>
                </a:lnTo>
                <a:close/>
                <a:moveTo>
                  <a:pt x="6217" y="893"/>
                </a:moveTo>
                <a:lnTo>
                  <a:pt x="6181" y="857"/>
                </a:lnTo>
                <a:lnTo>
                  <a:pt x="6217" y="808"/>
                </a:lnTo>
                <a:lnTo>
                  <a:pt x="6217" y="893"/>
                </a:lnTo>
                <a:close/>
                <a:moveTo>
                  <a:pt x="6303" y="857"/>
                </a:moveTo>
                <a:lnTo>
                  <a:pt x="6254" y="893"/>
                </a:lnTo>
                <a:lnTo>
                  <a:pt x="6254" y="808"/>
                </a:lnTo>
                <a:lnTo>
                  <a:pt x="6303" y="857"/>
                </a:lnTo>
                <a:close/>
                <a:moveTo>
                  <a:pt x="6266" y="783"/>
                </a:moveTo>
                <a:lnTo>
                  <a:pt x="6352" y="783"/>
                </a:lnTo>
                <a:lnTo>
                  <a:pt x="6315" y="832"/>
                </a:lnTo>
                <a:lnTo>
                  <a:pt x="6266" y="783"/>
                </a:lnTo>
                <a:close/>
                <a:moveTo>
                  <a:pt x="6266" y="918"/>
                </a:moveTo>
                <a:lnTo>
                  <a:pt x="6315" y="869"/>
                </a:lnTo>
                <a:lnTo>
                  <a:pt x="6364" y="918"/>
                </a:lnTo>
                <a:lnTo>
                  <a:pt x="6266" y="918"/>
                </a:lnTo>
                <a:close/>
                <a:moveTo>
                  <a:pt x="6376" y="906"/>
                </a:moveTo>
                <a:lnTo>
                  <a:pt x="6327" y="857"/>
                </a:lnTo>
                <a:lnTo>
                  <a:pt x="6376" y="795"/>
                </a:lnTo>
                <a:lnTo>
                  <a:pt x="6376" y="906"/>
                </a:lnTo>
                <a:close/>
                <a:moveTo>
                  <a:pt x="6450" y="857"/>
                </a:moveTo>
                <a:lnTo>
                  <a:pt x="6401" y="893"/>
                </a:lnTo>
                <a:lnTo>
                  <a:pt x="6401" y="808"/>
                </a:lnTo>
                <a:lnTo>
                  <a:pt x="6450" y="857"/>
                </a:lnTo>
                <a:close/>
                <a:moveTo>
                  <a:pt x="6413" y="783"/>
                </a:moveTo>
                <a:lnTo>
                  <a:pt x="6425" y="783"/>
                </a:lnTo>
                <a:lnTo>
                  <a:pt x="6511" y="783"/>
                </a:lnTo>
                <a:lnTo>
                  <a:pt x="6462" y="832"/>
                </a:lnTo>
                <a:lnTo>
                  <a:pt x="6413" y="783"/>
                </a:lnTo>
                <a:close/>
                <a:moveTo>
                  <a:pt x="6425" y="918"/>
                </a:moveTo>
                <a:lnTo>
                  <a:pt x="6413" y="918"/>
                </a:lnTo>
                <a:lnTo>
                  <a:pt x="6462" y="869"/>
                </a:lnTo>
                <a:lnTo>
                  <a:pt x="6511" y="918"/>
                </a:lnTo>
                <a:lnTo>
                  <a:pt x="6425" y="918"/>
                </a:lnTo>
                <a:close/>
                <a:moveTo>
                  <a:pt x="6523" y="893"/>
                </a:moveTo>
                <a:lnTo>
                  <a:pt x="6474" y="857"/>
                </a:lnTo>
                <a:lnTo>
                  <a:pt x="6523" y="808"/>
                </a:lnTo>
                <a:lnTo>
                  <a:pt x="6523" y="893"/>
                </a:lnTo>
                <a:close/>
                <a:moveTo>
                  <a:pt x="6597" y="857"/>
                </a:moveTo>
                <a:lnTo>
                  <a:pt x="6548" y="893"/>
                </a:lnTo>
                <a:lnTo>
                  <a:pt x="6548" y="808"/>
                </a:lnTo>
                <a:lnTo>
                  <a:pt x="6597" y="857"/>
                </a:lnTo>
                <a:close/>
                <a:moveTo>
                  <a:pt x="6560" y="783"/>
                </a:moveTo>
                <a:lnTo>
                  <a:pt x="6658" y="783"/>
                </a:lnTo>
                <a:lnTo>
                  <a:pt x="6609" y="832"/>
                </a:lnTo>
                <a:lnTo>
                  <a:pt x="6560" y="783"/>
                </a:lnTo>
                <a:close/>
                <a:moveTo>
                  <a:pt x="6560" y="918"/>
                </a:moveTo>
                <a:lnTo>
                  <a:pt x="6609" y="869"/>
                </a:lnTo>
                <a:lnTo>
                  <a:pt x="6658" y="918"/>
                </a:lnTo>
                <a:lnTo>
                  <a:pt x="6560" y="918"/>
                </a:lnTo>
                <a:close/>
                <a:moveTo>
                  <a:pt x="6658" y="893"/>
                </a:moveTo>
                <a:lnTo>
                  <a:pt x="6621" y="857"/>
                </a:lnTo>
                <a:lnTo>
                  <a:pt x="6658" y="808"/>
                </a:lnTo>
                <a:lnTo>
                  <a:pt x="6658" y="893"/>
                </a:lnTo>
                <a:close/>
                <a:moveTo>
                  <a:pt x="6744" y="857"/>
                </a:moveTo>
                <a:lnTo>
                  <a:pt x="6695" y="893"/>
                </a:lnTo>
                <a:lnTo>
                  <a:pt x="6695" y="808"/>
                </a:lnTo>
                <a:lnTo>
                  <a:pt x="6744" y="857"/>
                </a:lnTo>
                <a:close/>
                <a:moveTo>
                  <a:pt x="6707" y="783"/>
                </a:moveTo>
                <a:lnTo>
                  <a:pt x="6793" y="783"/>
                </a:lnTo>
                <a:lnTo>
                  <a:pt x="6756" y="832"/>
                </a:lnTo>
                <a:lnTo>
                  <a:pt x="6707" y="783"/>
                </a:lnTo>
                <a:close/>
                <a:moveTo>
                  <a:pt x="6707" y="918"/>
                </a:moveTo>
                <a:lnTo>
                  <a:pt x="6756" y="869"/>
                </a:lnTo>
                <a:lnTo>
                  <a:pt x="6805" y="918"/>
                </a:lnTo>
                <a:lnTo>
                  <a:pt x="6707" y="918"/>
                </a:lnTo>
                <a:close/>
                <a:moveTo>
                  <a:pt x="6805" y="893"/>
                </a:moveTo>
                <a:lnTo>
                  <a:pt x="6768" y="857"/>
                </a:lnTo>
                <a:lnTo>
                  <a:pt x="6805" y="808"/>
                </a:lnTo>
                <a:lnTo>
                  <a:pt x="6805" y="893"/>
                </a:lnTo>
                <a:close/>
                <a:moveTo>
                  <a:pt x="6878" y="857"/>
                </a:moveTo>
                <a:lnTo>
                  <a:pt x="6842" y="893"/>
                </a:lnTo>
                <a:lnTo>
                  <a:pt x="6842" y="808"/>
                </a:lnTo>
                <a:lnTo>
                  <a:pt x="6878" y="857"/>
                </a:lnTo>
                <a:close/>
                <a:moveTo>
                  <a:pt x="6854" y="783"/>
                </a:moveTo>
                <a:lnTo>
                  <a:pt x="6939" y="783"/>
                </a:lnTo>
                <a:lnTo>
                  <a:pt x="6903" y="832"/>
                </a:lnTo>
                <a:lnTo>
                  <a:pt x="6854" y="783"/>
                </a:lnTo>
                <a:close/>
                <a:moveTo>
                  <a:pt x="6854" y="918"/>
                </a:moveTo>
                <a:lnTo>
                  <a:pt x="6903" y="869"/>
                </a:lnTo>
                <a:lnTo>
                  <a:pt x="6939" y="918"/>
                </a:lnTo>
                <a:lnTo>
                  <a:pt x="6854" y="918"/>
                </a:lnTo>
                <a:close/>
                <a:moveTo>
                  <a:pt x="7001" y="918"/>
                </a:moveTo>
                <a:lnTo>
                  <a:pt x="6976" y="918"/>
                </a:lnTo>
                <a:lnTo>
                  <a:pt x="6915" y="857"/>
                </a:lnTo>
                <a:lnTo>
                  <a:pt x="6976" y="783"/>
                </a:lnTo>
                <a:lnTo>
                  <a:pt x="7001" y="783"/>
                </a:lnTo>
                <a:lnTo>
                  <a:pt x="7001" y="918"/>
                </a:lnTo>
                <a:close/>
                <a:moveTo>
                  <a:pt x="7037" y="306"/>
                </a:moveTo>
                <a:lnTo>
                  <a:pt x="7037" y="343"/>
                </a:lnTo>
                <a:lnTo>
                  <a:pt x="7037" y="673"/>
                </a:lnTo>
                <a:lnTo>
                  <a:pt x="7001" y="673"/>
                </a:lnTo>
                <a:lnTo>
                  <a:pt x="7001" y="759"/>
                </a:lnTo>
                <a:lnTo>
                  <a:pt x="6842" y="759"/>
                </a:lnTo>
                <a:lnTo>
                  <a:pt x="6805" y="759"/>
                </a:lnTo>
                <a:lnTo>
                  <a:pt x="6695" y="759"/>
                </a:lnTo>
                <a:lnTo>
                  <a:pt x="6658" y="759"/>
                </a:lnTo>
                <a:lnTo>
                  <a:pt x="6548" y="759"/>
                </a:lnTo>
                <a:lnTo>
                  <a:pt x="6523" y="759"/>
                </a:lnTo>
                <a:lnTo>
                  <a:pt x="6425" y="759"/>
                </a:lnTo>
                <a:lnTo>
                  <a:pt x="6401" y="759"/>
                </a:lnTo>
                <a:lnTo>
                  <a:pt x="6376" y="759"/>
                </a:lnTo>
                <a:lnTo>
                  <a:pt x="6376" y="759"/>
                </a:lnTo>
                <a:lnTo>
                  <a:pt x="6254" y="759"/>
                </a:lnTo>
                <a:lnTo>
                  <a:pt x="6217" y="759"/>
                </a:lnTo>
                <a:lnTo>
                  <a:pt x="6107" y="759"/>
                </a:lnTo>
                <a:lnTo>
                  <a:pt x="6083" y="759"/>
                </a:lnTo>
                <a:lnTo>
                  <a:pt x="5960" y="759"/>
                </a:lnTo>
                <a:lnTo>
                  <a:pt x="5936" y="759"/>
                </a:lnTo>
                <a:lnTo>
                  <a:pt x="5875" y="759"/>
                </a:lnTo>
                <a:lnTo>
                  <a:pt x="7037" y="257"/>
                </a:lnTo>
                <a:lnTo>
                  <a:pt x="7037" y="306"/>
                </a:lnTo>
                <a:close/>
                <a:moveTo>
                  <a:pt x="5165" y="1750"/>
                </a:moveTo>
                <a:lnTo>
                  <a:pt x="5238" y="1750"/>
                </a:lnTo>
                <a:lnTo>
                  <a:pt x="5238" y="1885"/>
                </a:lnTo>
                <a:lnTo>
                  <a:pt x="5165" y="1885"/>
                </a:lnTo>
                <a:lnTo>
                  <a:pt x="5165" y="1750"/>
                </a:lnTo>
                <a:close/>
                <a:moveTo>
                  <a:pt x="5165" y="1909"/>
                </a:moveTo>
                <a:lnTo>
                  <a:pt x="5238" y="1909"/>
                </a:lnTo>
                <a:lnTo>
                  <a:pt x="5238" y="2044"/>
                </a:lnTo>
                <a:lnTo>
                  <a:pt x="5165" y="2044"/>
                </a:lnTo>
                <a:lnTo>
                  <a:pt x="5165" y="1909"/>
                </a:lnTo>
                <a:close/>
                <a:moveTo>
                  <a:pt x="5165" y="2081"/>
                </a:moveTo>
                <a:lnTo>
                  <a:pt x="5238" y="2081"/>
                </a:lnTo>
                <a:lnTo>
                  <a:pt x="5238" y="2203"/>
                </a:lnTo>
                <a:lnTo>
                  <a:pt x="5165" y="2203"/>
                </a:lnTo>
                <a:lnTo>
                  <a:pt x="5165" y="2081"/>
                </a:lnTo>
                <a:close/>
                <a:moveTo>
                  <a:pt x="5165" y="2240"/>
                </a:moveTo>
                <a:lnTo>
                  <a:pt x="5238" y="2240"/>
                </a:lnTo>
                <a:lnTo>
                  <a:pt x="5238" y="2350"/>
                </a:lnTo>
                <a:lnTo>
                  <a:pt x="5165" y="2350"/>
                </a:lnTo>
                <a:lnTo>
                  <a:pt x="5165" y="2240"/>
                </a:lnTo>
                <a:close/>
                <a:moveTo>
                  <a:pt x="5165" y="2374"/>
                </a:moveTo>
                <a:lnTo>
                  <a:pt x="5238" y="2374"/>
                </a:lnTo>
                <a:lnTo>
                  <a:pt x="5238" y="2509"/>
                </a:lnTo>
                <a:lnTo>
                  <a:pt x="5165" y="2509"/>
                </a:lnTo>
                <a:lnTo>
                  <a:pt x="5165" y="2374"/>
                </a:lnTo>
                <a:close/>
                <a:moveTo>
                  <a:pt x="5165" y="2546"/>
                </a:moveTo>
                <a:lnTo>
                  <a:pt x="5238" y="2546"/>
                </a:lnTo>
                <a:lnTo>
                  <a:pt x="5238" y="2680"/>
                </a:lnTo>
                <a:lnTo>
                  <a:pt x="5165" y="2680"/>
                </a:lnTo>
                <a:lnTo>
                  <a:pt x="5165" y="2546"/>
                </a:lnTo>
                <a:close/>
                <a:moveTo>
                  <a:pt x="5165" y="2705"/>
                </a:moveTo>
                <a:lnTo>
                  <a:pt x="5238" y="2705"/>
                </a:lnTo>
                <a:lnTo>
                  <a:pt x="5238" y="2839"/>
                </a:lnTo>
                <a:lnTo>
                  <a:pt x="5165" y="2839"/>
                </a:lnTo>
                <a:lnTo>
                  <a:pt x="5165" y="2705"/>
                </a:lnTo>
                <a:close/>
                <a:moveTo>
                  <a:pt x="3390" y="2509"/>
                </a:moveTo>
                <a:lnTo>
                  <a:pt x="3561" y="2509"/>
                </a:lnTo>
                <a:lnTo>
                  <a:pt x="3561" y="2656"/>
                </a:lnTo>
                <a:lnTo>
                  <a:pt x="3390" y="2656"/>
                </a:lnTo>
                <a:lnTo>
                  <a:pt x="3390" y="2509"/>
                </a:lnTo>
                <a:close/>
                <a:moveTo>
                  <a:pt x="3390" y="2680"/>
                </a:moveTo>
                <a:lnTo>
                  <a:pt x="3561" y="2680"/>
                </a:lnTo>
                <a:lnTo>
                  <a:pt x="3561" y="2815"/>
                </a:lnTo>
                <a:lnTo>
                  <a:pt x="3390" y="2815"/>
                </a:lnTo>
                <a:lnTo>
                  <a:pt x="3390" y="2680"/>
                </a:lnTo>
                <a:close/>
                <a:moveTo>
                  <a:pt x="3390" y="2852"/>
                </a:moveTo>
                <a:lnTo>
                  <a:pt x="3561" y="2852"/>
                </a:lnTo>
                <a:lnTo>
                  <a:pt x="3561" y="2974"/>
                </a:lnTo>
                <a:lnTo>
                  <a:pt x="3390" y="2974"/>
                </a:lnTo>
                <a:lnTo>
                  <a:pt x="3390" y="2852"/>
                </a:lnTo>
                <a:close/>
                <a:moveTo>
                  <a:pt x="3390" y="2998"/>
                </a:moveTo>
                <a:lnTo>
                  <a:pt x="3561" y="2998"/>
                </a:lnTo>
                <a:lnTo>
                  <a:pt x="3561" y="3121"/>
                </a:lnTo>
                <a:lnTo>
                  <a:pt x="3390" y="3121"/>
                </a:lnTo>
                <a:lnTo>
                  <a:pt x="3390" y="2998"/>
                </a:lnTo>
                <a:close/>
                <a:moveTo>
                  <a:pt x="3390" y="3158"/>
                </a:moveTo>
                <a:lnTo>
                  <a:pt x="3561" y="3158"/>
                </a:lnTo>
                <a:lnTo>
                  <a:pt x="3561" y="3280"/>
                </a:lnTo>
                <a:lnTo>
                  <a:pt x="3390" y="3280"/>
                </a:lnTo>
                <a:lnTo>
                  <a:pt x="3390" y="3158"/>
                </a:lnTo>
                <a:close/>
                <a:moveTo>
                  <a:pt x="3390" y="3304"/>
                </a:moveTo>
                <a:lnTo>
                  <a:pt x="3561" y="3304"/>
                </a:lnTo>
                <a:lnTo>
                  <a:pt x="3561" y="3402"/>
                </a:lnTo>
                <a:lnTo>
                  <a:pt x="3390" y="3402"/>
                </a:lnTo>
                <a:lnTo>
                  <a:pt x="3390" y="3304"/>
                </a:lnTo>
                <a:close/>
                <a:moveTo>
                  <a:pt x="3158" y="2509"/>
                </a:moveTo>
                <a:lnTo>
                  <a:pt x="3329" y="2509"/>
                </a:lnTo>
                <a:lnTo>
                  <a:pt x="3329" y="2656"/>
                </a:lnTo>
                <a:lnTo>
                  <a:pt x="3158" y="2656"/>
                </a:lnTo>
                <a:lnTo>
                  <a:pt x="3158" y="2509"/>
                </a:lnTo>
                <a:close/>
                <a:moveTo>
                  <a:pt x="3158" y="2680"/>
                </a:moveTo>
                <a:lnTo>
                  <a:pt x="3329" y="2680"/>
                </a:lnTo>
                <a:lnTo>
                  <a:pt x="3329" y="2815"/>
                </a:lnTo>
                <a:lnTo>
                  <a:pt x="3158" y="2815"/>
                </a:lnTo>
                <a:lnTo>
                  <a:pt x="3158" y="2680"/>
                </a:lnTo>
                <a:close/>
                <a:moveTo>
                  <a:pt x="3158" y="2852"/>
                </a:moveTo>
                <a:lnTo>
                  <a:pt x="3329" y="2852"/>
                </a:lnTo>
                <a:lnTo>
                  <a:pt x="3329" y="2974"/>
                </a:lnTo>
                <a:lnTo>
                  <a:pt x="3158" y="2974"/>
                </a:lnTo>
                <a:lnTo>
                  <a:pt x="3158" y="2852"/>
                </a:lnTo>
                <a:close/>
                <a:moveTo>
                  <a:pt x="3158" y="2998"/>
                </a:moveTo>
                <a:lnTo>
                  <a:pt x="3329" y="2998"/>
                </a:lnTo>
                <a:lnTo>
                  <a:pt x="3329" y="3121"/>
                </a:lnTo>
                <a:lnTo>
                  <a:pt x="3158" y="3121"/>
                </a:lnTo>
                <a:lnTo>
                  <a:pt x="3158" y="2998"/>
                </a:lnTo>
                <a:close/>
                <a:moveTo>
                  <a:pt x="3158" y="3158"/>
                </a:moveTo>
                <a:lnTo>
                  <a:pt x="3329" y="3158"/>
                </a:lnTo>
                <a:lnTo>
                  <a:pt x="3329" y="3280"/>
                </a:lnTo>
                <a:lnTo>
                  <a:pt x="3158" y="3280"/>
                </a:lnTo>
                <a:lnTo>
                  <a:pt x="3158" y="3158"/>
                </a:lnTo>
                <a:close/>
                <a:moveTo>
                  <a:pt x="3158" y="3304"/>
                </a:moveTo>
                <a:lnTo>
                  <a:pt x="3329" y="3304"/>
                </a:lnTo>
                <a:lnTo>
                  <a:pt x="3329" y="3402"/>
                </a:lnTo>
                <a:lnTo>
                  <a:pt x="3158" y="3402"/>
                </a:lnTo>
                <a:lnTo>
                  <a:pt x="3158" y="3304"/>
                </a:lnTo>
                <a:close/>
                <a:moveTo>
                  <a:pt x="2937" y="2509"/>
                </a:moveTo>
                <a:lnTo>
                  <a:pt x="3109" y="2509"/>
                </a:lnTo>
                <a:lnTo>
                  <a:pt x="3109" y="2656"/>
                </a:lnTo>
                <a:lnTo>
                  <a:pt x="2937" y="2656"/>
                </a:lnTo>
                <a:lnTo>
                  <a:pt x="2937" y="2509"/>
                </a:lnTo>
                <a:close/>
                <a:moveTo>
                  <a:pt x="2937" y="2680"/>
                </a:moveTo>
                <a:lnTo>
                  <a:pt x="3109" y="2680"/>
                </a:lnTo>
                <a:lnTo>
                  <a:pt x="3109" y="2815"/>
                </a:lnTo>
                <a:lnTo>
                  <a:pt x="2937" y="2815"/>
                </a:lnTo>
                <a:lnTo>
                  <a:pt x="2937" y="2680"/>
                </a:lnTo>
                <a:close/>
                <a:moveTo>
                  <a:pt x="2937" y="2852"/>
                </a:moveTo>
                <a:lnTo>
                  <a:pt x="3109" y="2852"/>
                </a:lnTo>
                <a:lnTo>
                  <a:pt x="3109" y="2974"/>
                </a:lnTo>
                <a:lnTo>
                  <a:pt x="2937" y="2974"/>
                </a:lnTo>
                <a:lnTo>
                  <a:pt x="2937" y="2852"/>
                </a:lnTo>
                <a:close/>
                <a:moveTo>
                  <a:pt x="2937" y="2998"/>
                </a:moveTo>
                <a:lnTo>
                  <a:pt x="3109" y="2998"/>
                </a:lnTo>
                <a:lnTo>
                  <a:pt x="3109" y="3121"/>
                </a:lnTo>
                <a:lnTo>
                  <a:pt x="2937" y="3121"/>
                </a:lnTo>
                <a:lnTo>
                  <a:pt x="2937" y="2998"/>
                </a:lnTo>
                <a:close/>
                <a:moveTo>
                  <a:pt x="2937" y="3158"/>
                </a:moveTo>
                <a:lnTo>
                  <a:pt x="3109" y="3158"/>
                </a:lnTo>
                <a:lnTo>
                  <a:pt x="3109" y="3280"/>
                </a:lnTo>
                <a:lnTo>
                  <a:pt x="2937" y="3280"/>
                </a:lnTo>
                <a:lnTo>
                  <a:pt x="2937" y="3158"/>
                </a:lnTo>
                <a:close/>
                <a:moveTo>
                  <a:pt x="2937" y="3304"/>
                </a:moveTo>
                <a:lnTo>
                  <a:pt x="3109" y="3304"/>
                </a:lnTo>
                <a:lnTo>
                  <a:pt x="3109" y="3402"/>
                </a:lnTo>
                <a:lnTo>
                  <a:pt x="2937" y="3402"/>
                </a:lnTo>
                <a:lnTo>
                  <a:pt x="2937" y="3304"/>
                </a:lnTo>
                <a:close/>
                <a:moveTo>
                  <a:pt x="2717" y="2852"/>
                </a:moveTo>
                <a:lnTo>
                  <a:pt x="2876" y="2852"/>
                </a:lnTo>
                <a:lnTo>
                  <a:pt x="2876" y="2974"/>
                </a:lnTo>
                <a:lnTo>
                  <a:pt x="2717" y="2974"/>
                </a:lnTo>
                <a:lnTo>
                  <a:pt x="2717" y="2852"/>
                </a:lnTo>
                <a:close/>
                <a:moveTo>
                  <a:pt x="2717" y="2998"/>
                </a:moveTo>
                <a:lnTo>
                  <a:pt x="2876" y="2998"/>
                </a:lnTo>
                <a:lnTo>
                  <a:pt x="2876" y="3121"/>
                </a:lnTo>
                <a:lnTo>
                  <a:pt x="2717" y="3121"/>
                </a:lnTo>
                <a:lnTo>
                  <a:pt x="2717" y="2998"/>
                </a:lnTo>
                <a:close/>
                <a:moveTo>
                  <a:pt x="2717" y="3158"/>
                </a:moveTo>
                <a:lnTo>
                  <a:pt x="2876" y="3158"/>
                </a:lnTo>
                <a:lnTo>
                  <a:pt x="2876" y="3280"/>
                </a:lnTo>
                <a:lnTo>
                  <a:pt x="2717" y="3280"/>
                </a:lnTo>
                <a:lnTo>
                  <a:pt x="2717" y="3158"/>
                </a:lnTo>
                <a:close/>
                <a:moveTo>
                  <a:pt x="2717" y="3304"/>
                </a:moveTo>
                <a:lnTo>
                  <a:pt x="2876" y="3304"/>
                </a:lnTo>
                <a:lnTo>
                  <a:pt x="2876" y="3402"/>
                </a:lnTo>
                <a:lnTo>
                  <a:pt x="2717" y="3402"/>
                </a:lnTo>
                <a:lnTo>
                  <a:pt x="2717" y="3304"/>
                </a:lnTo>
                <a:close/>
                <a:moveTo>
                  <a:pt x="2484" y="2852"/>
                </a:moveTo>
                <a:lnTo>
                  <a:pt x="2656" y="2852"/>
                </a:lnTo>
                <a:lnTo>
                  <a:pt x="2656" y="2974"/>
                </a:lnTo>
                <a:lnTo>
                  <a:pt x="2484" y="2974"/>
                </a:lnTo>
                <a:lnTo>
                  <a:pt x="2484" y="2852"/>
                </a:lnTo>
                <a:close/>
                <a:moveTo>
                  <a:pt x="2484" y="2998"/>
                </a:moveTo>
                <a:lnTo>
                  <a:pt x="2656" y="2998"/>
                </a:lnTo>
                <a:lnTo>
                  <a:pt x="2656" y="3121"/>
                </a:lnTo>
                <a:lnTo>
                  <a:pt x="2484" y="3121"/>
                </a:lnTo>
                <a:lnTo>
                  <a:pt x="2484" y="2998"/>
                </a:lnTo>
                <a:close/>
                <a:moveTo>
                  <a:pt x="2484" y="3158"/>
                </a:moveTo>
                <a:lnTo>
                  <a:pt x="2656" y="3158"/>
                </a:lnTo>
                <a:lnTo>
                  <a:pt x="2656" y="3280"/>
                </a:lnTo>
                <a:lnTo>
                  <a:pt x="2484" y="3280"/>
                </a:lnTo>
                <a:lnTo>
                  <a:pt x="2484" y="3158"/>
                </a:lnTo>
                <a:close/>
                <a:moveTo>
                  <a:pt x="2484" y="3304"/>
                </a:moveTo>
                <a:lnTo>
                  <a:pt x="2656" y="3304"/>
                </a:lnTo>
                <a:lnTo>
                  <a:pt x="2656" y="3402"/>
                </a:lnTo>
                <a:lnTo>
                  <a:pt x="2484" y="3402"/>
                </a:lnTo>
                <a:lnTo>
                  <a:pt x="2484" y="3304"/>
                </a:lnTo>
                <a:close/>
                <a:moveTo>
                  <a:pt x="2264" y="2852"/>
                </a:moveTo>
                <a:lnTo>
                  <a:pt x="2423" y="2852"/>
                </a:lnTo>
                <a:lnTo>
                  <a:pt x="2423" y="2974"/>
                </a:lnTo>
                <a:lnTo>
                  <a:pt x="2264" y="2974"/>
                </a:lnTo>
                <a:lnTo>
                  <a:pt x="2264" y="2852"/>
                </a:lnTo>
                <a:close/>
                <a:moveTo>
                  <a:pt x="2264" y="2998"/>
                </a:moveTo>
                <a:lnTo>
                  <a:pt x="2423" y="2998"/>
                </a:lnTo>
                <a:lnTo>
                  <a:pt x="2423" y="3121"/>
                </a:lnTo>
                <a:lnTo>
                  <a:pt x="2264" y="3121"/>
                </a:lnTo>
                <a:lnTo>
                  <a:pt x="2264" y="2998"/>
                </a:lnTo>
                <a:close/>
                <a:moveTo>
                  <a:pt x="2264" y="3158"/>
                </a:moveTo>
                <a:lnTo>
                  <a:pt x="2423" y="3158"/>
                </a:lnTo>
                <a:lnTo>
                  <a:pt x="2423" y="3280"/>
                </a:lnTo>
                <a:lnTo>
                  <a:pt x="2264" y="3280"/>
                </a:lnTo>
                <a:lnTo>
                  <a:pt x="2264" y="3158"/>
                </a:lnTo>
                <a:close/>
                <a:moveTo>
                  <a:pt x="2264" y="3304"/>
                </a:moveTo>
                <a:lnTo>
                  <a:pt x="2423" y="3304"/>
                </a:lnTo>
                <a:lnTo>
                  <a:pt x="2423" y="3402"/>
                </a:lnTo>
                <a:lnTo>
                  <a:pt x="2264" y="3402"/>
                </a:lnTo>
                <a:lnTo>
                  <a:pt x="2264" y="3304"/>
                </a:lnTo>
                <a:close/>
                <a:moveTo>
                  <a:pt x="1114" y="808"/>
                </a:moveTo>
                <a:lnTo>
                  <a:pt x="1114" y="673"/>
                </a:lnTo>
                <a:lnTo>
                  <a:pt x="1150" y="673"/>
                </a:lnTo>
                <a:lnTo>
                  <a:pt x="1212" y="734"/>
                </a:lnTo>
                <a:lnTo>
                  <a:pt x="1138" y="808"/>
                </a:lnTo>
                <a:lnTo>
                  <a:pt x="1114" y="808"/>
                </a:lnTo>
                <a:close/>
                <a:moveTo>
                  <a:pt x="1175" y="673"/>
                </a:moveTo>
                <a:lnTo>
                  <a:pt x="1285" y="673"/>
                </a:lnTo>
                <a:lnTo>
                  <a:pt x="1224" y="722"/>
                </a:lnTo>
                <a:lnTo>
                  <a:pt x="1175" y="673"/>
                </a:lnTo>
                <a:close/>
                <a:moveTo>
                  <a:pt x="1175" y="808"/>
                </a:moveTo>
                <a:lnTo>
                  <a:pt x="1224" y="747"/>
                </a:lnTo>
                <a:lnTo>
                  <a:pt x="1285" y="808"/>
                </a:lnTo>
                <a:lnTo>
                  <a:pt x="1175" y="808"/>
                </a:lnTo>
                <a:close/>
                <a:moveTo>
                  <a:pt x="1297" y="783"/>
                </a:moveTo>
                <a:lnTo>
                  <a:pt x="1248" y="734"/>
                </a:lnTo>
                <a:lnTo>
                  <a:pt x="1297" y="685"/>
                </a:lnTo>
                <a:lnTo>
                  <a:pt x="1297" y="783"/>
                </a:lnTo>
                <a:close/>
                <a:moveTo>
                  <a:pt x="1383" y="734"/>
                </a:moveTo>
                <a:lnTo>
                  <a:pt x="1334" y="783"/>
                </a:lnTo>
                <a:lnTo>
                  <a:pt x="1334" y="685"/>
                </a:lnTo>
                <a:lnTo>
                  <a:pt x="1383" y="734"/>
                </a:lnTo>
                <a:close/>
                <a:moveTo>
                  <a:pt x="1346" y="673"/>
                </a:moveTo>
                <a:lnTo>
                  <a:pt x="1444" y="673"/>
                </a:lnTo>
                <a:lnTo>
                  <a:pt x="1395" y="722"/>
                </a:lnTo>
                <a:lnTo>
                  <a:pt x="1346" y="673"/>
                </a:lnTo>
                <a:close/>
                <a:moveTo>
                  <a:pt x="1346" y="808"/>
                </a:moveTo>
                <a:lnTo>
                  <a:pt x="1395" y="747"/>
                </a:lnTo>
                <a:lnTo>
                  <a:pt x="1444" y="808"/>
                </a:lnTo>
                <a:lnTo>
                  <a:pt x="1346" y="808"/>
                </a:lnTo>
                <a:close/>
                <a:moveTo>
                  <a:pt x="1456" y="783"/>
                </a:moveTo>
                <a:lnTo>
                  <a:pt x="1407" y="734"/>
                </a:lnTo>
                <a:lnTo>
                  <a:pt x="1456" y="685"/>
                </a:lnTo>
                <a:lnTo>
                  <a:pt x="1456" y="783"/>
                </a:lnTo>
                <a:close/>
                <a:moveTo>
                  <a:pt x="1542" y="734"/>
                </a:moveTo>
                <a:lnTo>
                  <a:pt x="1493" y="783"/>
                </a:lnTo>
                <a:lnTo>
                  <a:pt x="1493" y="685"/>
                </a:lnTo>
                <a:lnTo>
                  <a:pt x="1542" y="734"/>
                </a:lnTo>
                <a:close/>
                <a:moveTo>
                  <a:pt x="1505" y="673"/>
                </a:moveTo>
                <a:lnTo>
                  <a:pt x="1615" y="673"/>
                </a:lnTo>
                <a:lnTo>
                  <a:pt x="1554" y="722"/>
                </a:lnTo>
                <a:lnTo>
                  <a:pt x="1505" y="673"/>
                </a:lnTo>
                <a:close/>
                <a:moveTo>
                  <a:pt x="1505" y="808"/>
                </a:moveTo>
                <a:lnTo>
                  <a:pt x="1554" y="747"/>
                </a:lnTo>
                <a:lnTo>
                  <a:pt x="1615" y="808"/>
                </a:lnTo>
                <a:lnTo>
                  <a:pt x="1505" y="808"/>
                </a:lnTo>
                <a:close/>
                <a:moveTo>
                  <a:pt x="1628" y="783"/>
                </a:moveTo>
                <a:lnTo>
                  <a:pt x="1579" y="734"/>
                </a:lnTo>
                <a:lnTo>
                  <a:pt x="1628" y="685"/>
                </a:lnTo>
                <a:lnTo>
                  <a:pt x="1628" y="783"/>
                </a:lnTo>
                <a:close/>
                <a:moveTo>
                  <a:pt x="1713" y="734"/>
                </a:moveTo>
                <a:lnTo>
                  <a:pt x="1664" y="783"/>
                </a:lnTo>
                <a:lnTo>
                  <a:pt x="1664" y="685"/>
                </a:lnTo>
                <a:lnTo>
                  <a:pt x="1713" y="734"/>
                </a:lnTo>
                <a:close/>
                <a:moveTo>
                  <a:pt x="1677" y="673"/>
                </a:moveTo>
                <a:lnTo>
                  <a:pt x="1775" y="673"/>
                </a:lnTo>
                <a:lnTo>
                  <a:pt x="1775" y="673"/>
                </a:lnTo>
                <a:lnTo>
                  <a:pt x="1726" y="722"/>
                </a:lnTo>
                <a:lnTo>
                  <a:pt x="1677" y="673"/>
                </a:lnTo>
                <a:close/>
                <a:moveTo>
                  <a:pt x="1775" y="808"/>
                </a:moveTo>
                <a:lnTo>
                  <a:pt x="1677" y="808"/>
                </a:lnTo>
                <a:lnTo>
                  <a:pt x="1726" y="747"/>
                </a:lnTo>
                <a:lnTo>
                  <a:pt x="1775" y="808"/>
                </a:lnTo>
                <a:lnTo>
                  <a:pt x="1775" y="808"/>
                </a:lnTo>
                <a:close/>
                <a:moveTo>
                  <a:pt x="1787" y="783"/>
                </a:moveTo>
                <a:lnTo>
                  <a:pt x="1738" y="734"/>
                </a:lnTo>
                <a:lnTo>
                  <a:pt x="1787" y="685"/>
                </a:lnTo>
                <a:lnTo>
                  <a:pt x="1787" y="783"/>
                </a:lnTo>
                <a:close/>
                <a:moveTo>
                  <a:pt x="1885" y="734"/>
                </a:moveTo>
                <a:lnTo>
                  <a:pt x="1823" y="783"/>
                </a:lnTo>
                <a:lnTo>
                  <a:pt x="1823" y="685"/>
                </a:lnTo>
                <a:lnTo>
                  <a:pt x="1885" y="734"/>
                </a:lnTo>
                <a:close/>
                <a:moveTo>
                  <a:pt x="1848" y="673"/>
                </a:moveTo>
                <a:lnTo>
                  <a:pt x="1946" y="673"/>
                </a:lnTo>
                <a:lnTo>
                  <a:pt x="1897" y="722"/>
                </a:lnTo>
                <a:lnTo>
                  <a:pt x="1848" y="673"/>
                </a:lnTo>
                <a:close/>
                <a:moveTo>
                  <a:pt x="1848" y="808"/>
                </a:moveTo>
                <a:lnTo>
                  <a:pt x="1897" y="747"/>
                </a:lnTo>
                <a:lnTo>
                  <a:pt x="1946" y="808"/>
                </a:lnTo>
                <a:lnTo>
                  <a:pt x="1848" y="808"/>
                </a:lnTo>
                <a:close/>
                <a:moveTo>
                  <a:pt x="1970" y="783"/>
                </a:moveTo>
                <a:lnTo>
                  <a:pt x="1909" y="734"/>
                </a:lnTo>
                <a:lnTo>
                  <a:pt x="1970" y="685"/>
                </a:lnTo>
                <a:lnTo>
                  <a:pt x="1970" y="783"/>
                </a:lnTo>
                <a:close/>
                <a:moveTo>
                  <a:pt x="2044" y="734"/>
                </a:moveTo>
                <a:lnTo>
                  <a:pt x="1995" y="783"/>
                </a:lnTo>
                <a:lnTo>
                  <a:pt x="1995" y="685"/>
                </a:lnTo>
                <a:lnTo>
                  <a:pt x="2044" y="734"/>
                </a:lnTo>
                <a:close/>
                <a:moveTo>
                  <a:pt x="2007" y="673"/>
                </a:moveTo>
                <a:lnTo>
                  <a:pt x="2117" y="673"/>
                </a:lnTo>
                <a:lnTo>
                  <a:pt x="2068" y="722"/>
                </a:lnTo>
                <a:lnTo>
                  <a:pt x="2007" y="673"/>
                </a:lnTo>
                <a:close/>
                <a:moveTo>
                  <a:pt x="2007" y="808"/>
                </a:moveTo>
                <a:lnTo>
                  <a:pt x="2068" y="747"/>
                </a:lnTo>
                <a:lnTo>
                  <a:pt x="2117" y="808"/>
                </a:lnTo>
                <a:lnTo>
                  <a:pt x="2007" y="808"/>
                </a:lnTo>
                <a:close/>
                <a:moveTo>
                  <a:pt x="2129" y="783"/>
                </a:moveTo>
                <a:lnTo>
                  <a:pt x="2080" y="734"/>
                </a:lnTo>
                <a:lnTo>
                  <a:pt x="2129" y="685"/>
                </a:lnTo>
                <a:lnTo>
                  <a:pt x="2129" y="783"/>
                </a:lnTo>
                <a:close/>
                <a:moveTo>
                  <a:pt x="2215" y="734"/>
                </a:moveTo>
                <a:lnTo>
                  <a:pt x="2166" y="783"/>
                </a:lnTo>
                <a:lnTo>
                  <a:pt x="2166" y="685"/>
                </a:lnTo>
                <a:lnTo>
                  <a:pt x="2215" y="734"/>
                </a:lnTo>
                <a:close/>
                <a:moveTo>
                  <a:pt x="2178" y="673"/>
                </a:moveTo>
                <a:lnTo>
                  <a:pt x="2276" y="673"/>
                </a:lnTo>
                <a:lnTo>
                  <a:pt x="2227" y="722"/>
                </a:lnTo>
                <a:lnTo>
                  <a:pt x="2178" y="673"/>
                </a:lnTo>
                <a:close/>
                <a:moveTo>
                  <a:pt x="2178" y="808"/>
                </a:moveTo>
                <a:lnTo>
                  <a:pt x="2227" y="747"/>
                </a:lnTo>
                <a:lnTo>
                  <a:pt x="2289" y="808"/>
                </a:lnTo>
                <a:lnTo>
                  <a:pt x="2178" y="808"/>
                </a:lnTo>
                <a:close/>
                <a:moveTo>
                  <a:pt x="2301" y="783"/>
                </a:moveTo>
                <a:lnTo>
                  <a:pt x="2240" y="734"/>
                </a:lnTo>
                <a:lnTo>
                  <a:pt x="2301" y="685"/>
                </a:lnTo>
                <a:lnTo>
                  <a:pt x="2301" y="783"/>
                </a:lnTo>
                <a:close/>
                <a:moveTo>
                  <a:pt x="2338" y="808"/>
                </a:moveTo>
                <a:lnTo>
                  <a:pt x="2399" y="747"/>
                </a:lnTo>
                <a:lnTo>
                  <a:pt x="2448" y="808"/>
                </a:lnTo>
                <a:lnTo>
                  <a:pt x="2338" y="808"/>
                </a:lnTo>
                <a:close/>
                <a:moveTo>
                  <a:pt x="2325" y="783"/>
                </a:moveTo>
                <a:lnTo>
                  <a:pt x="2325" y="685"/>
                </a:lnTo>
                <a:lnTo>
                  <a:pt x="2374" y="734"/>
                </a:lnTo>
                <a:lnTo>
                  <a:pt x="2325" y="783"/>
                </a:lnTo>
                <a:close/>
                <a:moveTo>
                  <a:pt x="2656" y="734"/>
                </a:moveTo>
                <a:lnTo>
                  <a:pt x="2827" y="808"/>
                </a:lnTo>
                <a:lnTo>
                  <a:pt x="2656" y="808"/>
                </a:lnTo>
                <a:lnTo>
                  <a:pt x="2656" y="734"/>
                </a:lnTo>
                <a:close/>
                <a:moveTo>
                  <a:pt x="2619" y="722"/>
                </a:moveTo>
                <a:lnTo>
                  <a:pt x="2619" y="808"/>
                </a:lnTo>
                <a:lnTo>
                  <a:pt x="2509" y="808"/>
                </a:lnTo>
                <a:lnTo>
                  <a:pt x="2607" y="722"/>
                </a:lnTo>
                <a:lnTo>
                  <a:pt x="2619" y="722"/>
                </a:lnTo>
                <a:close/>
                <a:moveTo>
                  <a:pt x="2497" y="673"/>
                </a:moveTo>
                <a:lnTo>
                  <a:pt x="2582" y="710"/>
                </a:lnTo>
                <a:lnTo>
                  <a:pt x="2497" y="795"/>
                </a:lnTo>
                <a:lnTo>
                  <a:pt x="2497" y="673"/>
                </a:lnTo>
                <a:close/>
                <a:moveTo>
                  <a:pt x="2460" y="783"/>
                </a:moveTo>
                <a:lnTo>
                  <a:pt x="2411" y="734"/>
                </a:lnTo>
                <a:lnTo>
                  <a:pt x="2460" y="685"/>
                </a:lnTo>
                <a:lnTo>
                  <a:pt x="2460" y="783"/>
                </a:lnTo>
                <a:close/>
                <a:moveTo>
                  <a:pt x="2399" y="722"/>
                </a:moveTo>
                <a:lnTo>
                  <a:pt x="2338" y="673"/>
                </a:lnTo>
                <a:lnTo>
                  <a:pt x="2448" y="673"/>
                </a:lnTo>
                <a:lnTo>
                  <a:pt x="2399" y="722"/>
                </a:lnTo>
                <a:close/>
                <a:moveTo>
                  <a:pt x="1077" y="196"/>
                </a:moveTo>
                <a:lnTo>
                  <a:pt x="1077" y="159"/>
                </a:lnTo>
                <a:lnTo>
                  <a:pt x="1077" y="110"/>
                </a:lnTo>
                <a:lnTo>
                  <a:pt x="2386" y="636"/>
                </a:lnTo>
                <a:lnTo>
                  <a:pt x="2325" y="636"/>
                </a:lnTo>
                <a:lnTo>
                  <a:pt x="2301" y="636"/>
                </a:lnTo>
                <a:lnTo>
                  <a:pt x="2166" y="636"/>
                </a:lnTo>
                <a:lnTo>
                  <a:pt x="2129" y="636"/>
                </a:lnTo>
                <a:lnTo>
                  <a:pt x="1995" y="636"/>
                </a:lnTo>
                <a:lnTo>
                  <a:pt x="1970" y="636"/>
                </a:lnTo>
                <a:lnTo>
                  <a:pt x="1823" y="636"/>
                </a:lnTo>
                <a:lnTo>
                  <a:pt x="1823" y="636"/>
                </a:lnTo>
                <a:lnTo>
                  <a:pt x="1787" y="636"/>
                </a:lnTo>
                <a:lnTo>
                  <a:pt x="1775" y="636"/>
                </a:lnTo>
                <a:lnTo>
                  <a:pt x="1664" y="636"/>
                </a:lnTo>
                <a:lnTo>
                  <a:pt x="1628" y="636"/>
                </a:lnTo>
                <a:lnTo>
                  <a:pt x="1493" y="636"/>
                </a:lnTo>
                <a:lnTo>
                  <a:pt x="1456" y="636"/>
                </a:lnTo>
                <a:lnTo>
                  <a:pt x="1334" y="636"/>
                </a:lnTo>
                <a:lnTo>
                  <a:pt x="1297" y="636"/>
                </a:lnTo>
                <a:lnTo>
                  <a:pt x="1114" y="636"/>
                </a:lnTo>
                <a:lnTo>
                  <a:pt x="1114" y="551"/>
                </a:lnTo>
                <a:lnTo>
                  <a:pt x="1077" y="551"/>
                </a:lnTo>
                <a:lnTo>
                  <a:pt x="1077" y="196"/>
                </a:lnTo>
                <a:close/>
                <a:moveTo>
                  <a:pt x="9277" y="3451"/>
                </a:moveTo>
                <a:lnTo>
                  <a:pt x="9314" y="3451"/>
                </a:lnTo>
                <a:lnTo>
                  <a:pt x="9314" y="3464"/>
                </a:lnTo>
                <a:lnTo>
                  <a:pt x="9277" y="3451"/>
                </a:lnTo>
                <a:close/>
                <a:moveTo>
                  <a:pt x="9412" y="3733"/>
                </a:moveTo>
                <a:lnTo>
                  <a:pt x="9412" y="3818"/>
                </a:lnTo>
                <a:lnTo>
                  <a:pt x="9351" y="3818"/>
                </a:lnTo>
                <a:lnTo>
                  <a:pt x="9351" y="3733"/>
                </a:lnTo>
                <a:lnTo>
                  <a:pt x="9412" y="3733"/>
                </a:lnTo>
                <a:close/>
                <a:moveTo>
                  <a:pt x="9351" y="3696"/>
                </a:moveTo>
                <a:lnTo>
                  <a:pt x="9351" y="3586"/>
                </a:lnTo>
                <a:lnTo>
                  <a:pt x="9412" y="3586"/>
                </a:lnTo>
                <a:lnTo>
                  <a:pt x="9412" y="3696"/>
                </a:lnTo>
                <a:lnTo>
                  <a:pt x="9351" y="3696"/>
                </a:lnTo>
                <a:close/>
                <a:moveTo>
                  <a:pt x="9338" y="2766"/>
                </a:moveTo>
                <a:lnTo>
                  <a:pt x="9412" y="2766"/>
                </a:lnTo>
                <a:lnTo>
                  <a:pt x="9412" y="2864"/>
                </a:lnTo>
                <a:lnTo>
                  <a:pt x="9338" y="2864"/>
                </a:lnTo>
                <a:lnTo>
                  <a:pt x="9338" y="2766"/>
                </a:lnTo>
                <a:close/>
                <a:moveTo>
                  <a:pt x="9338" y="2901"/>
                </a:moveTo>
                <a:lnTo>
                  <a:pt x="9412" y="2901"/>
                </a:lnTo>
                <a:lnTo>
                  <a:pt x="9412" y="3011"/>
                </a:lnTo>
                <a:lnTo>
                  <a:pt x="9338" y="3011"/>
                </a:lnTo>
                <a:lnTo>
                  <a:pt x="9338" y="2901"/>
                </a:lnTo>
                <a:close/>
                <a:moveTo>
                  <a:pt x="9338" y="3047"/>
                </a:moveTo>
                <a:lnTo>
                  <a:pt x="9412" y="3047"/>
                </a:lnTo>
                <a:lnTo>
                  <a:pt x="9412" y="3158"/>
                </a:lnTo>
                <a:lnTo>
                  <a:pt x="9338" y="3158"/>
                </a:lnTo>
                <a:lnTo>
                  <a:pt x="9338" y="3047"/>
                </a:lnTo>
                <a:close/>
                <a:moveTo>
                  <a:pt x="9338" y="3182"/>
                </a:moveTo>
                <a:lnTo>
                  <a:pt x="9412" y="3182"/>
                </a:lnTo>
                <a:lnTo>
                  <a:pt x="9412" y="3268"/>
                </a:lnTo>
                <a:lnTo>
                  <a:pt x="9338" y="3268"/>
                </a:lnTo>
                <a:lnTo>
                  <a:pt x="9338" y="3182"/>
                </a:lnTo>
                <a:close/>
                <a:moveTo>
                  <a:pt x="9338" y="3304"/>
                </a:moveTo>
                <a:lnTo>
                  <a:pt x="9412" y="3304"/>
                </a:lnTo>
                <a:lnTo>
                  <a:pt x="9412" y="3415"/>
                </a:lnTo>
                <a:lnTo>
                  <a:pt x="9338" y="3415"/>
                </a:lnTo>
                <a:lnTo>
                  <a:pt x="9338" y="3304"/>
                </a:lnTo>
                <a:close/>
                <a:moveTo>
                  <a:pt x="9338" y="3451"/>
                </a:moveTo>
                <a:lnTo>
                  <a:pt x="9412" y="3451"/>
                </a:lnTo>
                <a:lnTo>
                  <a:pt x="9412" y="3561"/>
                </a:lnTo>
                <a:lnTo>
                  <a:pt x="9351" y="3561"/>
                </a:lnTo>
                <a:lnTo>
                  <a:pt x="9351" y="3476"/>
                </a:lnTo>
                <a:lnTo>
                  <a:pt x="9338" y="3464"/>
                </a:lnTo>
                <a:lnTo>
                  <a:pt x="9338" y="3451"/>
                </a:lnTo>
                <a:close/>
                <a:moveTo>
                  <a:pt x="9167" y="2766"/>
                </a:moveTo>
                <a:lnTo>
                  <a:pt x="9314" y="2766"/>
                </a:lnTo>
                <a:lnTo>
                  <a:pt x="9314" y="2864"/>
                </a:lnTo>
                <a:lnTo>
                  <a:pt x="9167" y="2864"/>
                </a:lnTo>
                <a:lnTo>
                  <a:pt x="9167" y="2766"/>
                </a:lnTo>
                <a:close/>
                <a:moveTo>
                  <a:pt x="9167" y="2901"/>
                </a:moveTo>
                <a:lnTo>
                  <a:pt x="9314" y="2901"/>
                </a:lnTo>
                <a:lnTo>
                  <a:pt x="9314" y="3011"/>
                </a:lnTo>
                <a:lnTo>
                  <a:pt x="9167" y="3011"/>
                </a:lnTo>
                <a:lnTo>
                  <a:pt x="9167" y="2901"/>
                </a:lnTo>
                <a:close/>
                <a:moveTo>
                  <a:pt x="9167" y="3047"/>
                </a:moveTo>
                <a:lnTo>
                  <a:pt x="9314" y="3047"/>
                </a:lnTo>
                <a:lnTo>
                  <a:pt x="9314" y="3158"/>
                </a:lnTo>
                <a:lnTo>
                  <a:pt x="9167" y="3158"/>
                </a:lnTo>
                <a:lnTo>
                  <a:pt x="9167" y="3047"/>
                </a:lnTo>
                <a:close/>
                <a:moveTo>
                  <a:pt x="9167" y="3182"/>
                </a:moveTo>
                <a:lnTo>
                  <a:pt x="9314" y="3182"/>
                </a:lnTo>
                <a:lnTo>
                  <a:pt x="9314" y="3268"/>
                </a:lnTo>
                <a:lnTo>
                  <a:pt x="9167" y="3268"/>
                </a:lnTo>
                <a:lnTo>
                  <a:pt x="9167" y="3182"/>
                </a:lnTo>
                <a:close/>
                <a:moveTo>
                  <a:pt x="9167" y="3304"/>
                </a:moveTo>
                <a:lnTo>
                  <a:pt x="9314" y="3304"/>
                </a:lnTo>
                <a:lnTo>
                  <a:pt x="9314" y="3415"/>
                </a:lnTo>
                <a:lnTo>
                  <a:pt x="9179" y="3415"/>
                </a:lnTo>
                <a:lnTo>
                  <a:pt x="9167" y="3415"/>
                </a:lnTo>
                <a:lnTo>
                  <a:pt x="9167" y="3304"/>
                </a:lnTo>
                <a:close/>
                <a:moveTo>
                  <a:pt x="9069" y="2766"/>
                </a:moveTo>
                <a:lnTo>
                  <a:pt x="9130" y="2766"/>
                </a:lnTo>
                <a:lnTo>
                  <a:pt x="9130" y="2864"/>
                </a:lnTo>
                <a:lnTo>
                  <a:pt x="9069" y="2864"/>
                </a:lnTo>
                <a:lnTo>
                  <a:pt x="9069" y="2766"/>
                </a:lnTo>
                <a:close/>
                <a:moveTo>
                  <a:pt x="9069" y="2901"/>
                </a:moveTo>
                <a:lnTo>
                  <a:pt x="9130" y="2901"/>
                </a:lnTo>
                <a:lnTo>
                  <a:pt x="9130" y="3011"/>
                </a:lnTo>
                <a:lnTo>
                  <a:pt x="9069" y="3011"/>
                </a:lnTo>
                <a:lnTo>
                  <a:pt x="9069" y="2901"/>
                </a:lnTo>
                <a:close/>
                <a:moveTo>
                  <a:pt x="9069" y="3047"/>
                </a:moveTo>
                <a:lnTo>
                  <a:pt x="9130" y="3047"/>
                </a:lnTo>
                <a:lnTo>
                  <a:pt x="9130" y="3158"/>
                </a:lnTo>
                <a:lnTo>
                  <a:pt x="9069" y="3158"/>
                </a:lnTo>
                <a:lnTo>
                  <a:pt x="9069" y="3047"/>
                </a:lnTo>
                <a:close/>
                <a:moveTo>
                  <a:pt x="9069" y="3182"/>
                </a:moveTo>
                <a:lnTo>
                  <a:pt x="9130" y="3182"/>
                </a:lnTo>
                <a:lnTo>
                  <a:pt x="9130" y="3268"/>
                </a:lnTo>
                <a:lnTo>
                  <a:pt x="9069" y="3268"/>
                </a:lnTo>
                <a:lnTo>
                  <a:pt x="9069" y="3182"/>
                </a:lnTo>
                <a:close/>
                <a:moveTo>
                  <a:pt x="9069" y="3304"/>
                </a:moveTo>
                <a:lnTo>
                  <a:pt x="9130" y="3304"/>
                </a:lnTo>
                <a:lnTo>
                  <a:pt x="9130" y="3402"/>
                </a:lnTo>
                <a:lnTo>
                  <a:pt x="9094" y="3415"/>
                </a:lnTo>
                <a:lnTo>
                  <a:pt x="9069" y="3415"/>
                </a:lnTo>
                <a:lnTo>
                  <a:pt x="9069" y="3304"/>
                </a:lnTo>
                <a:close/>
                <a:moveTo>
                  <a:pt x="8898" y="2766"/>
                </a:moveTo>
                <a:lnTo>
                  <a:pt x="9032" y="2766"/>
                </a:lnTo>
                <a:lnTo>
                  <a:pt x="9032" y="2864"/>
                </a:lnTo>
                <a:lnTo>
                  <a:pt x="8898" y="2864"/>
                </a:lnTo>
                <a:lnTo>
                  <a:pt x="8898" y="2766"/>
                </a:lnTo>
                <a:close/>
                <a:moveTo>
                  <a:pt x="8898" y="2901"/>
                </a:moveTo>
                <a:lnTo>
                  <a:pt x="9032" y="2901"/>
                </a:lnTo>
                <a:lnTo>
                  <a:pt x="9032" y="3011"/>
                </a:lnTo>
                <a:lnTo>
                  <a:pt x="8898" y="3011"/>
                </a:lnTo>
                <a:lnTo>
                  <a:pt x="8898" y="2901"/>
                </a:lnTo>
                <a:close/>
                <a:moveTo>
                  <a:pt x="8898" y="3047"/>
                </a:moveTo>
                <a:lnTo>
                  <a:pt x="9032" y="3047"/>
                </a:lnTo>
                <a:lnTo>
                  <a:pt x="9032" y="3158"/>
                </a:lnTo>
                <a:lnTo>
                  <a:pt x="8898" y="3158"/>
                </a:lnTo>
                <a:lnTo>
                  <a:pt x="8898" y="3047"/>
                </a:lnTo>
                <a:close/>
                <a:moveTo>
                  <a:pt x="8898" y="3182"/>
                </a:moveTo>
                <a:lnTo>
                  <a:pt x="9032" y="3182"/>
                </a:lnTo>
                <a:lnTo>
                  <a:pt x="9032" y="3268"/>
                </a:lnTo>
                <a:lnTo>
                  <a:pt x="8898" y="3268"/>
                </a:lnTo>
                <a:lnTo>
                  <a:pt x="8898" y="3182"/>
                </a:lnTo>
                <a:close/>
                <a:moveTo>
                  <a:pt x="8898" y="3304"/>
                </a:moveTo>
                <a:lnTo>
                  <a:pt x="9032" y="3304"/>
                </a:lnTo>
                <a:lnTo>
                  <a:pt x="9032" y="3415"/>
                </a:lnTo>
                <a:lnTo>
                  <a:pt x="8898" y="3415"/>
                </a:lnTo>
                <a:lnTo>
                  <a:pt x="8898" y="3304"/>
                </a:lnTo>
                <a:close/>
                <a:moveTo>
                  <a:pt x="8898" y="3451"/>
                </a:moveTo>
                <a:lnTo>
                  <a:pt x="8996" y="3451"/>
                </a:lnTo>
                <a:lnTo>
                  <a:pt x="8922" y="3476"/>
                </a:lnTo>
                <a:lnTo>
                  <a:pt x="8922" y="3561"/>
                </a:lnTo>
                <a:lnTo>
                  <a:pt x="8898" y="3561"/>
                </a:lnTo>
                <a:lnTo>
                  <a:pt x="8898" y="3451"/>
                </a:lnTo>
                <a:close/>
                <a:moveTo>
                  <a:pt x="8898" y="3586"/>
                </a:moveTo>
                <a:lnTo>
                  <a:pt x="8922" y="3586"/>
                </a:lnTo>
                <a:lnTo>
                  <a:pt x="8922" y="3696"/>
                </a:lnTo>
                <a:lnTo>
                  <a:pt x="8898" y="3696"/>
                </a:lnTo>
                <a:lnTo>
                  <a:pt x="8898" y="3586"/>
                </a:lnTo>
                <a:close/>
                <a:moveTo>
                  <a:pt x="8922" y="3733"/>
                </a:moveTo>
                <a:lnTo>
                  <a:pt x="8922" y="3818"/>
                </a:lnTo>
                <a:lnTo>
                  <a:pt x="8898" y="3818"/>
                </a:lnTo>
                <a:lnTo>
                  <a:pt x="8898" y="3733"/>
                </a:lnTo>
                <a:lnTo>
                  <a:pt x="8922" y="3733"/>
                </a:lnTo>
                <a:close/>
                <a:moveTo>
                  <a:pt x="8800" y="2766"/>
                </a:moveTo>
                <a:lnTo>
                  <a:pt x="8861" y="2766"/>
                </a:lnTo>
                <a:lnTo>
                  <a:pt x="8861" y="2864"/>
                </a:lnTo>
                <a:lnTo>
                  <a:pt x="8800" y="2864"/>
                </a:lnTo>
                <a:lnTo>
                  <a:pt x="8800" y="2766"/>
                </a:lnTo>
                <a:close/>
                <a:moveTo>
                  <a:pt x="8800" y="2901"/>
                </a:moveTo>
                <a:lnTo>
                  <a:pt x="8861" y="2901"/>
                </a:lnTo>
                <a:lnTo>
                  <a:pt x="8861" y="3011"/>
                </a:lnTo>
                <a:lnTo>
                  <a:pt x="8800" y="3011"/>
                </a:lnTo>
                <a:lnTo>
                  <a:pt x="8800" y="2901"/>
                </a:lnTo>
                <a:close/>
                <a:moveTo>
                  <a:pt x="8800" y="3047"/>
                </a:moveTo>
                <a:lnTo>
                  <a:pt x="8861" y="3047"/>
                </a:lnTo>
                <a:lnTo>
                  <a:pt x="8861" y="3158"/>
                </a:lnTo>
                <a:lnTo>
                  <a:pt x="8800" y="3158"/>
                </a:lnTo>
                <a:lnTo>
                  <a:pt x="8800" y="3047"/>
                </a:lnTo>
                <a:close/>
                <a:moveTo>
                  <a:pt x="8800" y="3182"/>
                </a:moveTo>
                <a:lnTo>
                  <a:pt x="8861" y="3182"/>
                </a:lnTo>
                <a:lnTo>
                  <a:pt x="8861" y="3268"/>
                </a:lnTo>
                <a:lnTo>
                  <a:pt x="8800" y="3268"/>
                </a:lnTo>
                <a:lnTo>
                  <a:pt x="8800" y="3182"/>
                </a:lnTo>
                <a:close/>
                <a:moveTo>
                  <a:pt x="8800" y="3304"/>
                </a:moveTo>
                <a:lnTo>
                  <a:pt x="8861" y="3304"/>
                </a:lnTo>
                <a:lnTo>
                  <a:pt x="8861" y="3415"/>
                </a:lnTo>
                <a:lnTo>
                  <a:pt x="8800" y="3415"/>
                </a:lnTo>
                <a:lnTo>
                  <a:pt x="8800" y="3304"/>
                </a:lnTo>
                <a:close/>
                <a:moveTo>
                  <a:pt x="8800" y="3451"/>
                </a:moveTo>
                <a:lnTo>
                  <a:pt x="8861" y="3451"/>
                </a:lnTo>
                <a:lnTo>
                  <a:pt x="8861" y="3561"/>
                </a:lnTo>
                <a:lnTo>
                  <a:pt x="8800" y="3561"/>
                </a:lnTo>
                <a:lnTo>
                  <a:pt x="8800" y="3451"/>
                </a:lnTo>
                <a:close/>
                <a:moveTo>
                  <a:pt x="8800" y="3586"/>
                </a:moveTo>
                <a:lnTo>
                  <a:pt x="8861" y="3586"/>
                </a:lnTo>
                <a:lnTo>
                  <a:pt x="8861" y="3696"/>
                </a:lnTo>
                <a:lnTo>
                  <a:pt x="8800" y="3696"/>
                </a:lnTo>
                <a:lnTo>
                  <a:pt x="8800" y="3586"/>
                </a:lnTo>
                <a:close/>
                <a:moveTo>
                  <a:pt x="8800" y="3733"/>
                </a:moveTo>
                <a:lnTo>
                  <a:pt x="8861" y="3733"/>
                </a:lnTo>
                <a:lnTo>
                  <a:pt x="8861" y="3818"/>
                </a:lnTo>
                <a:lnTo>
                  <a:pt x="8800" y="3818"/>
                </a:lnTo>
                <a:lnTo>
                  <a:pt x="8800" y="3733"/>
                </a:lnTo>
                <a:close/>
                <a:moveTo>
                  <a:pt x="8506" y="2521"/>
                </a:moveTo>
                <a:lnTo>
                  <a:pt x="8445" y="2448"/>
                </a:lnTo>
                <a:lnTo>
                  <a:pt x="8506" y="2387"/>
                </a:lnTo>
                <a:lnTo>
                  <a:pt x="8506" y="2521"/>
                </a:lnTo>
                <a:close/>
                <a:moveTo>
                  <a:pt x="8482" y="2117"/>
                </a:moveTo>
                <a:lnTo>
                  <a:pt x="8359" y="2117"/>
                </a:lnTo>
                <a:lnTo>
                  <a:pt x="8420" y="2056"/>
                </a:lnTo>
                <a:lnTo>
                  <a:pt x="8482" y="2117"/>
                </a:lnTo>
                <a:close/>
                <a:moveTo>
                  <a:pt x="8359" y="1958"/>
                </a:moveTo>
                <a:lnTo>
                  <a:pt x="8482" y="1958"/>
                </a:lnTo>
                <a:lnTo>
                  <a:pt x="8420" y="2019"/>
                </a:lnTo>
                <a:lnTo>
                  <a:pt x="8359" y="1958"/>
                </a:lnTo>
                <a:close/>
                <a:moveTo>
                  <a:pt x="8482" y="2166"/>
                </a:moveTo>
                <a:lnTo>
                  <a:pt x="8420" y="2227"/>
                </a:lnTo>
                <a:lnTo>
                  <a:pt x="8359" y="2166"/>
                </a:lnTo>
                <a:lnTo>
                  <a:pt x="8482" y="2166"/>
                </a:lnTo>
                <a:close/>
                <a:moveTo>
                  <a:pt x="8482" y="2325"/>
                </a:moveTo>
                <a:lnTo>
                  <a:pt x="8359" y="2325"/>
                </a:lnTo>
                <a:lnTo>
                  <a:pt x="8420" y="2264"/>
                </a:lnTo>
                <a:lnTo>
                  <a:pt x="8482" y="2325"/>
                </a:lnTo>
                <a:close/>
                <a:moveTo>
                  <a:pt x="8482" y="2374"/>
                </a:moveTo>
                <a:lnTo>
                  <a:pt x="8420" y="2435"/>
                </a:lnTo>
                <a:lnTo>
                  <a:pt x="8359" y="2374"/>
                </a:lnTo>
                <a:lnTo>
                  <a:pt x="8482" y="2374"/>
                </a:lnTo>
                <a:close/>
                <a:moveTo>
                  <a:pt x="8482" y="2533"/>
                </a:moveTo>
                <a:lnTo>
                  <a:pt x="8359" y="2533"/>
                </a:lnTo>
                <a:lnTo>
                  <a:pt x="8420" y="2472"/>
                </a:lnTo>
                <a:lnTo>
                  <a:pt x="8482" y="2533"/>
                </a:lnTo>
                <a:close/>
                <a:moveTo>
                  <a:pt x="8506" y="2313"/>
                </a:moveTo>
                <a:lnTo>
                  <a:pt x="8445" y="2240"/>
                </a:lnTo>
                <a:lnTo>
                  <a:pt x="8506" y="2178"/>
                </a:lnTo>
                <a:lnTo>
                  <a:pt x="8506" y="2313"/>
                </a:lnTo>
                <a:close/>
                <a:moveTo>
                  <a:pt x="8506" y="2105"/>
                </a:moveTo>
                <a:lnTo>
                  <a:pt x="8445" y="2032"/>
                </a:lnTo>
                <a:lnTo>
                  <a:pt x="8506" y="1970"/>
                </a:lnTo>
                <a:lnTo>
                  <a:pt x="8506" y="2105"/>
                </a:lnTo>
                <a:close/>
                <a:moveTo>
                  <a:pt x="8335" y="1872"/>
                </a:moveTo>
                <a:lnTo>
                  <a:pt x="8506" y="1872"/>
                </a:lnTo>
                <a:lnTo>
                  <a:pt x="8506" y="1909"/>
                </a:lnTo>
                <a:lnTo>
                  <a:pt x="8335" y="1909"/>
                </a:lnTo>
                <a:lnTo>
                  <a:pt x="8335" y="1872"/>
                </a:lnTo>
                <a:close/>
                <a:moveTo>
                  <a:pt x="8335" y="1970"/>
                </a:moveTo>
                <a:lnTo>
                  <a:pt x="8396" y="2032"/>
                </a:lnTo>
                <a:lnTo>
                  <a:pt x="8335" y="2105"/>
                </a:lnTo>
                <a:lnTo>
                  <a:pt x="8335" y="1970"/>
                </a:lnTo>
                <a:close/>
                <a:moveTo>
                  <a:pt x="8335" y="2178"/>
                </a:moveTo>
                <a:lnTo>
                  <a:pt x="8396" y="2240"/>
                </a:lnTo>
                <a:lnTo>
                  <a:pt x="8335" y="2313"/>
                </a:lnTo>
                <a:lnTo>
                  <a:pt x="8335" y="2178"/>
                </a:lnTo>
                <a:close/>
                <a:moveTo>
                  <a:pt x="8335" y="2387"/>
                </a:moveTo>
                <a:lnTo>
                  <a:pt x="8396" y="2448"/>
                </a:lnTo>
                <a:lnTo>
                  <a:pt x="8335" y="2521"/>
                </a:lnTo>
                <a:lnTo>
                  <a:pt x="8335" y="2387"/>
                </a:lnTo>
                <a:close/>
                <a:moveTo>
                  <a:pt x="8335" y="2582"/>
                </a:moveTo>
                <a:lnTo>
                  <a:pt x="8506" y="2582"/>
                </a:lnTo>
                <a:lnTo>
                  <a:pt x="8506" y="2607"/>
                </a:lnTo>
                <a:lnTo>
                  <a:pt x="8335" y="2607"/>
                </a:lnTo>
                <a:lnTo>
                  <a:pt x="8335" y="2582"/>
                </a:lnTo>
                <a:close/>
                <a:moveTo>
                  <a:pt x="7637" y="2582"/>
                </a:moveTo>
                <a:lnTo>
                  <a:pt x="7637" y="2533"/>
                </a:lnTo>
                <a:lnTo>
                  <a:pt x="7637" y="2374"/>
                </a:lnTo>
                <a:lnTo>
                  <a:pt x="7637" y="2325"/>
                </a:lnTo>
                <a:lnTo>
                  <a:pt x="7637" y="2166"/>
                </a:lnTo>
                <a:lnTo>
                  <a:pt x="7637" y="2117"/>
                </a:lnTo>
                <a:lnTo>
                  <a:pt x="7637" y="1958"/>
                </a:lnTo>
                <a:lnTo>
                  <a:pt x="7637" y="1909"/>
                </a:lnTo>
                <a:lnTo>
                  <a:pt x="7637" y="1872"/>
                </a:lnTo>
                <a:lnTo>
                  <a:pt x="8286" y="1872"/>
                </a:lnTo>
                <a:lnTo>
                  <a:pt x="8286" y="2607"/>
                </a:lnTo>
                <a:lnTo>
                  <a:pt x="7637" y="2607"/>
                </a:lnTo>
                <a:lnTo>
                  <a:pt x="7637" y="2582"/>
                </a:lnTo>
                <a:close/>
                <a:moveTo>
                  <a:pt x="7735" y="3158"/>
                </a:moveTo>
                <a:lnTo>
                  <a:pt x="7735" y="2925"/>
                </a:lnTo>
                <a:lnTo>
                  <a:pt x="7784" y="2925"/>
                </a:lnTo>
                <a:lnTo>
                  <a:pt x="7784" y="2790"/>
                </a:lnTo>
                <a:lnTo>
                  <a:pt x="8163" y="2790"/>
                </a:lnTo>
                <a:lnTo>
                  <a:pt x="8163" y="2925"/>
                </a:lnTo>
                <a:lnTo>
                  <a:pt x="8212" y="2925"/>
                </a:lnTo>
                <a:lnTo>
                  <a:pt x="8212" y="3158"/>
                </a:lnTo>
                <a:lnTo>
                  <a:pt x="8163" y="3158"/>
                </a:lnTo>
                <a:lnTo>
                  <a:pt x="8163" y="3268"/>
                </a:lnTo>
                <a:lnTo>
                  <a:pt x="7784" y="3268"/>
                </a:lnTo>
                <a:lnTo>
                  <a:pt x="7784" y="3158"/>
                </a:lnTo>
                <a:lnTo>
                  <a:pt x="7735" y="3158"/>
                </a:lnTo>
                <a:close/>
                <a:moveTo>
                  <a:pt x="8359" y="3451"/>
                </a:moveTo>
                <a:lnTo>
                  <a:pt x="8359" y="3818"/>
                </a:lnTo>
                <a:lnTo>
                  <a:pt x="8200" y="3818"/>
                </a:lnTo>
                <a:lnTo>
                  <a:pt x="8200" y="3635"/>
                </a:lnTo>
                <a:lnTo>
                  <a:pt x="7625" y="3635"/>
                </a:lnTo>
                <a:lnTo>
                  <a:pt x="7625" y="3818"/>
                </a:lnTo>
                <a:lnTo>
                  <a:pt x="7527" y="3818"/>
                </a:lnTo>
                <a:lnTo>
                  <a:pt x="7527" y="3451"/>
                </a:lnTo>
                <a:lnTo>
                  <a:pt x="8359" y="3451"/>
                </a:lnTo>
                <a:close/>
                <a:moveTo>
                  <a:pt x="7502" y="2019"/>
                </a:moveTo>
                <a:lnTo>
                  <a:pt x="7453" y="1958"/>
                </a:lnTo>
                <a:lnTo>
                  <a:pt x="7564" y="1958"/>
                </a:lnTo>
                <a:lnTo>
                  <a:pt x="7502" y="2019"/>
                </a:lnTo>
                <a:close/>
                <a:moveTo>
                  <a:pt x="7588" y="1970"/>
                </a:moveTo>
                <a:lnTo>
                  <a:pt x="7588" y="2105"/>
                </a:lnTo>
                <a:lnTo>
                  <a:pt x="7527" y="2032"/>
                </a:lnTo>
                <a:lnTo>
                  <a:pt x="7588" y="1970"/>
                </a:lnTo>
                <a:close/>
                <a:moveTo>
                  <a:pt x="7576" y="2117"/>
                </a:moveTo>
                <a:lnTo>
                  <a:pt x="7441" y="2117"/>
                </a:lnTo>
                <a:lnTo>
                  <a:pt x="7502" y="2056"/>
                </a:lnTo>
                <a:lnTo>
                  <a:pt x="7576" y="2117"/>
                </a:lnTo>
                <a:close/>
                <a:moveTo>
                  <a:pt x="7588" y="2178"/>
                </a:moveTo>
                <a:lnTo>
                  <a:pt x="7588" y="2313"/>
                </a:lnTo>
                <a:lnTo>
                  <a:pt x="7527" y="2240"/>
                </a:lnTo>
                <a:lnTo>
                  <a:pt x="7588" y="2178"/>
                </a:lnTo>
                <a:close/>
                <a:moveTo>
                  <a:pt x="7564" y="2166"/>
                </a:moveTo>
                <a:lnTo>
                  <a:pt x="7502" y="2227"/>
                </a:lnTo>
                <a:lnTo>
                  <a:pt x="7453" y="2166"/>
                </a:lnTo>
                <a:lnTo>
                  <a:pt x="7564" y="2166"/>
                </a:lnTo>
                <a:close/>
                <a:moveTo>
                  <a:pt x="7576" y="2325"/>
                </a:moveTo>
                <a:lnTo>
                  <a:pt x="7441" y="2325"/>
                </a:lnTo>
                <a:lnTo>
                  <a:pt x="7502" y="2264"/>
                </a:lnTo>
                <a:lnTo>
                  <a:pt x="7576" y="2325"/>
                </a:lnTo>
                <a:close/>
                <a:moveTo>
                  <a:pt x="7564" y="2374"/>
                </a:moveTo>
                <a:lnTo>
                  <a:pt x="7502" y="2435"/>
                </a:lnTo>
                <a:lnTo>
                  <a:pt x="7453" y="2374"/>
                </a:lnTo>
                <a:lnTo>
                  <a:pt x="7564" y="2374"/>
                </a:lnTo>
                <a:close/>
                <a:moveTo>
                  <a:pt x="7576" y="2533"/>
                </a:moveTo>
                <a:lnTo>
                  <a:pt x="7441" y="2533"/>
                </a:lnTo>
                <a:lnTo>
                  <a:pt x="7502" y="2472"/>
                </a:lnTo>
                <a:lnTo>
                  <a:pt x="7576" y="2533"/>
                </a:lnTo>
                <a:close/>
                <a:moveTo>
                  <a:pt x="7527" y="2448"/>
                </a:moveTo>
                <a:lnTo>
                  <a:pt x="7588" y="2387"/>
                </a:lnTo>
                <a:lnTo>
                  <a:pt x="7588" y="2521"/>
                </a:lnTo>
                <a:lnTo>
                  <a:pt x="7527" y="2448"/>
                </a:lnTo>
                <a:close/>
                <a:moveTo>
                  <a:pt x="7417" y="1872"/>
                </a:moveTo>
                <a:lnTo>
                  <a:pt x="7588" y="1872"/>
                </a:lnTo>
                <a:lnTo>
                  <a:pt x="7588" y="1909"/>
                </a:lnTo>
                <a:lnTo>
                  <a:pt x="7417" y="1909"/>
                </a:lnTo>
                <a:lnTo>
                  <a:pt x="7417" y="1872"/>
                </a:lnTo>
                <a:close/>
                <a:moveTo>
                  <a:pt x="7417" y="1970"/>
                </a:moveTo>
                <a:lnTo>
                  <a:pt x="7490" y="2032"/>
                </a:lnTo>
                <a:lnTo>
                  <a:pt x="7417" y="2105"/>
                </a:lnTo>
                <a:lnTo>
                  <a:pt x="7417" y="1970"/>
                </a:lnTo>
                <a:close/>
                <a:moveTo>
                  <a:pt x="7417" y="2178"/>
                </a:moveTo>
                <a:lnTo>
                  <a:pt x="7490" y="2240"/>
                </a:lnTo>
                <a:lnTo>
                  <a:pt x="7417" y="2313"/>
                </a:lnTo>
                <a:lnTo>
                  <a:pt x="7417" y="2178"/>
                </a:lnTo>
                <a:close/>
                <a:moveTo>
                  <a:pt x="7417" y="2387"/>
                </a:moveTo>
                <a:lnTo>
                  <a:pt x="7490" y="2448"/>
                </a:lnTo>
                <a:lnTo>
                  <a:pt x="7417" y="2521"/>
                </a:lnTo>
                <a:lnTo>
                  <a:pt x="7417" y="2387"/>
                </a:lnTo>
                <a:close/>
                <a:moveTo>
                  <a:pt x="7417" y="2582"/>
                </a:moveTo>
                <a:lnTo>
                  <a:pt x="7588" y="2582"/>
                </a:lnTo>
                <a:lnTo>
                  <a:pt x="7588" y="2607"/>
                </a:lnTo>
                <a:lnTo>
                  <a:pt x="7417" y="2607"/>
                </a:lnTo>
                <a:lnTo>
                  <a:pt x="7417" y="2582"/>
                </a:lnTo>
                <a:close/>
                <a:moveTo>
                  <a:pt x="7307" y="1872"/>
                </a:moveTo>
                <a:lnTo>
                  <a:pt x="7368" y="1872"/>
                </a:lnTo>
                <a:lnTo>
                  <a:pt x="7368" y="2607"/>
                </a:lnTo>
                <a:lnTo>
                  <a:pt x="7307" y="2607"/>
                </a:lnTo>
                <a:lnTo>
                  <a:pt x="7307" y="1872"/>
                </a:lnTo>
                <a:close/>
                <a:moveTo>
                  <a:pt x="7307" y="2790"/>
                </a:moveTo>
                <a:lnTo>
                  <a:pt x="7539" y="2790"/>
                </a:lnTo>
                <a:lnTo>
                  <a:pt x="7539" y="2925"/>
                </a:lnTo>
                <a:lnTo>
                  <a:pt x="7588" y="2925"/>
                </a:lnTo>
                <a:lnTo>
                  <a:pt x="7588" y="3158"/>
                </a:lnTo>
                <a:lnTo>
                  <a:pt x="7539" y="3158"/>
                </a:lnTo>
                <a:lnTo>
                  <a:pt x="7539" y="3268"/>
                </a:lnTo>
                <a:lnTo>
                  <a:pt x="7307" y="3268"/>
                </a:lnTo>
                <a:lnTo>
                  <a:pt x="7307" y="2790"/>
                </a:lnTo>
                <a:close/>
                <a:moveTo>
                  <a:pt x="7294" y="918"/>
                </a:moveTo>
                <a:lnTo>
                  <a:pt x="7294" y="881"/>
                </a:lnTo>
                <a:lnTo>
                  <a:pt x="7307" y="869"/>
                </a:lnTo>
                <a:lnTo>
                  <a:pt x="7356" y="918"/>
                </a:lnTo>
                <a:lnTo>
                  <a:pt x="7294" y="918"/>
                </a:lnTo>
                <a:close/>
                <a:moveTo>
                  <a:pt x="7294" y="820"/>
                </a:moveTo>
                <a:lnTo>
                  <a:pt x="7294" y="783"/>
                </a:lnTo>
                <a:lnTo>
                  <a:pt x="7356" y="783"/>
                </a:lnTo>
                <a:lnTo>
                  <a:pt x="7307" y="832"/>
                </a:lnTo>
                <a:lnTo>
                  <a:pt x="7294" y="820"/>
                </a:lnTo>
                <a:close/>
                <a:moveTo>
                  <a:pt x="7368" y="893"/>
                </a:moveTo>
                <a:lnTo>
                  <a:pt x="7331" y="857"/>
                </a:lnTo>
                <a:lnTo>
                  <a:pt x="7368" y="808"/>
                </a:lnTo>
                <a:lnTo>
                  <a:pt x="7368" y="893"/>
                </a:lnTo>
                <a:close/>
                <a:moveTo>
                  <a:pt x="7441" y="857"/>
                </a:moveTo>
                <a:lnTo>
                  <a:pt x="7392" y="893"/>
                </a:lnTo>
                <a:lnTo>
                  <a:pt x="7392" y="808"/>
                </a:lnTo>
                <a:lnTo>
                  <a:pt x="7441" y="857"/>
                </a:lnTo>
                <a:close/>
                <a:moveTo>
                  <a:pt x="7417" y="783"/>
                </a:moveTo>
                <a:lnTo>
                  <a:pt x="7502" y="783"/>
                </a:lnTo>
                <a:lnTo>
                  <a:pt x="7453" y="832"/>
                </a:lnTo>
                <a:lnTo>
                  <a:pt x="7417" y="783"/>
                </a:lnTo>
                <a:close/>
                <a:moveTo>
                  <a:pt x="7405" y="918"/>
                </a:moveTo>
                <a:lnTo>
                  <a:pt x="7453" y="869"/>
                </a:lnTo>
                <a:lnTo>
                  <a:pt x="7502" y="918"/>
                </a:lnTo>
                <a:lnTo>
                  <a:pt x="7405" y="918"/>
                </a:lnTo>
                <a:close/>
                <a:moveTo>
                  <a:pt x="7515" y="893"/>
                </a:moveTo>
                <a:lnTo>
                  <a:pt x="7466" y="857"/>
                </a:lnTo>
                <a:lnTo>
                  <a:pt x="7515" y="808"/>
                </a:lnTo>
                <a:lnTo>
                  <a:pt x="7515" y="893"/>
                </a:lnTo>
                <a:close/>
                <a:moveTo>
                  <a:pt x="7588" y="857"/>
                </a:moveTo>
                <a:lnTo>
                  <a:pt x="7539" y="893"/>
                </a:lnTo>
                <a:lnTo>
                  <a:pt x="7539" y="808"/>
                </a:lnTo>
                <a:lnTo>
                  <a:pt x="7588" y="857"/>
                </a:lnTo>
                <a:close/>
                <a:moveTo>
                  <a:pt x="7551" y="783"/>
                </a:moveTo>
                <a:lnTo>
                  <a:pt x="7649" y="783"/>
                </a:lnTo>
                <a:lnTo>
                  <a:pt x="7600" y="832"/>
                </a:lnTo>
                <a:lnTo>
                  <a:pt x="7551" y="783"/>
                </a:lnTo>
                <a:close/>
                <a:moveTo>
                  <a:pt x="7551" y="918"/>
                </a:moveTo>
                <a:lnTo>
                  <a:pt x="7600" y="869"/>
                </a:lnTo>
                <a:lnTo>
                  <a:pt x="7649" y="918"/>
                </a:lnTo>
                <a:lnTo>
                  <a:pt x="7551" y="918"/>
                </a:lnTo>
                <a:close/>
                <a:moveTo>
                  <a:pt x="7662" y="893"/>
                </a:moveTo>
                <a:lnTo>
                  <a:pt x="7613" y="857"/>
                </a:lnTo>
                <a:lnTo>
                  <a:pt x="7662" y="808"/>
                </a:lnTo>
                <a:lnTo>
                  <a:pt x="7662" y="893"/>
                </a:lnTo>
                <a:close/>
                <a:moveTo>
                  <a:pt x="7735" y="918"/>
                </a:moveTo>
                <a:lnTo>
                  <a:pt x="7698" y="918"/>
                </a:lnTo>
                <a:lnTo>
                  <a:pt x="7735" y="881"/>
                </a:lnTo>
                <a:lnTo>
                  <a:pt x="7735" y="918"/>
                </a:lnTo>
                <a:close/>
                <a:moveTo>
                  <a:pt x="7686" y="893"/>
                </a:moveTo>
                <a:lnTo>
                  <a:pt x="7686" y="808"/>
                </a:lnTo>
                <a:lnTo>
                  <a:pt x="7735" y="857"/>
                </a:lnTo>
                <a:lnTo>
                  <a:pt x="7686" y="893"/>
                </a:lnTo>
                <a:close/>
                <a:moveTo>
                  <a:pt x="7735" y="783"/>
                </a:moveTo>
                <a:lnTo>
                  <a:pt x="7735" y="820"/>
                </a:lnTo>
                <a:lnTo>
                  <a:pt x="7698" y="783"/>
                </a:lnTo>
                <a:lnTo>
                  <a:pt x="7735" y="783"/>
                </a:lnTo>
                <a:close/>
                <a:moveTo>
                  <a:pt x="7258" y="673"/>
                </a:moveTo>
                <a:lnTo>
                  <a:pt x="7258" y="526"/>
                </a:lnTo>
                <a:lnTo>
                  <a:pt x="7258" y="490"/>
                </a:lnTo>
                <a:lnTo>
                  <a:pt x="7258" y="343"/>
                </a:lnTo>
                <a:lnTo>
                  <a:pt x="7258" y="318"/>
                </a:lnTo>
                <a:lnTo>
                  <a:pt x="7698" y="759"/>
                </a:lnTo>
                <a:lnTo>
                  <a:pt x="7686" y="759"/>
                </a:lnTo>
                <a:lnTo>
                  <a:pt x="7662" y="759"/>
                </a:lnTo>
                <a:lnTo>
                  <a:pt x="7539" y="759"/>
                </a:lnTo>
                <a:lnTo>
                  <a:pt x="7515" y="759"/>
                </a:lnTo>
                <a:lnTo>
                  <a:pt x="7392" y="759"/>
                </a:lnTo>
                <a:lnTo>
                  <a:pt x="7368" y="759"/>
                </a:lnTo>
                <a:lnTo>
                  <a:pt x="7294" y="759"/>
                </a:lnTo>
                <a:lnTo>
                  <a:pt x="7294" y="673"/>
                </a:lnTo>
                <a:lnTo>
                  <a:pt x="7258" y="673"/>
                </a:lnTo>
                <a:lnTo>
                  <a:pt x="7258" y="673"/>
                </a:lnTo>
                <a:close/>
                <a:moveTo>
                  <a:pt x="7209" y="1995"/>
                </a:moveTo>
                <a:lnTo>
                  <a:pt x="7147" y="2068"/>
                </a:lnTo>
                <a:lnTo>
                  <a:pt x="7074" y="1995"/>
                </a:lnTo>
                <a:lnTo>
                  <a:pt x="7209" y="1995"/>
                </a:lnTo>
                <a:close/>
                <a:moveTo>
                  <a:pt x="7086" y="1946"/>
                </a:moveTo>
                <a:lnTo>
                  <a:pt x="7147" y="1872"/>
                </a:lnTo>
                <a:lnTo>
                  <a:pt x="7209" y="1946"/>
                </a:lnTo>
                <a:lnTo>
                  <a:pt x="7086" y="1946"/>
                </a:lnTo>
                <a:close/>
                <a:moveTo>
                  <a:pt x="7209" y="2191"/>
                </a:moveTo>
                <a:lnTo>
                  <a:pt x="7086" y="2191"/>
                </a:lnTo>
                <a:lnTo>
                  <a:pt x="7147" y="2117"/>
                </a:lnTo>
                <a:lnTo>
                  <a:pt x="7209" y="2191"/>
                </a:lnTo>
                <a:close/>
                <a:moveTo>
                  <a:pt x="7209" y="2240"/>
                </a:moveTo>
                <a:lnTo>
                  <a:pt x="7147" y="2313"/>
                </a:lnTo>
                <a:lnTo>
                  <a:pt x="7074" y="2240"/>
                </a:lnTo>
                <a:lnTo>
                  <a:pt x="7209" y="2240"/>
                </a:lnTo>
                <a:close/>
                <a:moveTo>
                  <a:pt x="7209" y="2435"/>
                </a:moveTo>
                <a:lnTo>
                  <a:pt x="7086" y="2435"/>
                </a:lnTo>
                <a:lnTo>
                  <a:pt x="7147" y="2362"/>
                </a:lnTo>
                <a:lnTo>
                  <a:pt x="7209" y="2435"/>
                </a:lnTo>
                <a:close/>
                <a:moveTo>
                  <a:pt x="7209" y="2484"/>
                </a:moveTo>
                <a:lnTo>
                  <a:pt x="7147" y="2558"/>
                </a:lnTo>
                <a:lnTo>
                  <a:pt x="7074" y="2484"/>
                </a:lnTo>
                <a:lnTo>
                  <a:pt x="7209" y="2484"/>
                </a:lnTo>
                <a:close/>
                <a:moveTo>
                  <a:pt x="7233" y="2509"/>
                </a:moveTo>
                <a:lnTo>
                  <a:pt x="7233" y="2656"/>
                </a:lnTo>
                <a:lnTo>
                  <a:pt x="7172" y="2582"/>
                </a:lnTo>
                <a:lnTo>
                  <a:pt x="7233" y="2509"/>
                </a:lnTo>
                <a:close/>
                <a:moveTo>
                  <a:pt x="7172" y="2338"/>
                </a:moveTo>
                <a:lnTo>
                  <a:pt x="7233" y="2264"/>
                </a:lnTo>
                <a:lnTo>
                  <a:pt x="7233" y="2411"/>
                </a:lnTo>
                <a:lnTo>
                  <a:pt x="7172" y="2338"/>
                </a:lnTo>
                <a:close/>
                <a:moveTo>
                  <a:pt x="7172" y="2093"/>
                </a:moveTo>
                <a:lnTo>
                  <a:pt x="7233" y="2019"/>
                </a:lnTo>
                <a:lnTo>
                  <a:pt x="7233" y="2166"/>
                </a:lnTo>
                <a:lnTo>
                  <a:pt x="7172" y="2093"/>
                </a:lnTo>
                <a:close/>
                <a:moveTo>
                  <a:pt x="7172" y="1848"/>
                </a:moveTo>
                <a:lnTo>
                  <a:pt x="7233" y="1775"/>
                </a:lnTo>
                <a:lnTo>
                  <a:pt x="7233" y="1921"/>
                </a:lnTo>
                <a:lnTo>
                  <a:pt x="7172" y="1848"/>
                </a:lnTo>
                <a:close/>
                <a:moveTo>
                  <a:pt x="7196" y="526"/>
                </a:moveTo>
                <a:lnTo>
                  <a:pt x="7147" y="587"/>
                </a:lnTo>
                <a:lnTo>
                  <a:pt x="7099" y="526"/>
                </a:lnTo>
                <a:lnTo>
                  <a:pt x="7196" y="526"/>
                </a:lnTo>
                <a:close/>
                <a:moveTo>
                  <a:pt x="7099" y="490"/>
                </a:moveTo>
                <a:lnTo>
                  <a:pt x="7147" y="428"/>
                </a:lnTo>
                <a:lnTo>
                  <a:pt x="7196" y="490"/>
                </a:lnTo>
                <a:lnTo>
                  <a:pt x="7099" y="490"/>
                </a:lnTo>
                <a:close/>
                <a:moveTo>
                  <a:pt x="7221" y="538"/>
                </a:moveTo>
                <a:lnTo>
                  <a:pt x="7221" y="661"/>
                </a:lnTo>
                <a:lnTo>
                  <a:pt x="7172" y="600"/>
                </a:lnTo>
                <a:lnTo>
                  <a:pt x="7221" y="538"/>
                </a:lnTo>
                <a:close/>
                <a:moveTo>
                  <a:pt x="7196" y="673"/>
                </a:moveTo>
                <a:lnTo>
                  <a:pt x="7099" y="673"/>
                </a:lnTo>
                <a:lnTo>
                  <a:pt x="7147" y="624"/>
                </a:lnTo>
                <a:lnTo>
                  <a:pt x="7196" y="673"/>
                </a:lnTo>
                <a:close/>
                <a:moveTo>
                  <a:pt x="7209" y="1297"/>
                </a:moveTo>
                <a:lnTo>
                  <a:pt x="7147" y="1358"/>
                </a:lnTo>
                <a:lnTo>
                  <a:pt x="7099" y="1297"/>
                </a:lnTo>
                <a:lnTo>
                  <a:pt x="7209" y="1297"/>
                </a:lnTo>
                <a:close/>
                <a:moveTo>
                  <a:pt x="7099" y="1261"/>
                </a:moveTo>
                <a:lnTo>
                  <a:pt x="7147" y="1212"/>
                </a:lnTo>
                <a:lnTo>
                  <a:pt x="7196" y="1261"/>
                </a:lnTo>
                <a:lnTo>
                  <a:pt x="7099" y="1261"/>
                </a:lnTo>
                <a:close/>
                <a:moveTo>
                  <a:pt x="7196" y="1444"/>
                </a:moveTo>
                <a:lnTo>
                  <a:pt x="7099" y="1444"/>
                </a:lnTo>
                <a:lnTo>
                  <a:pt x="7147" y="1395"/>
                </a:lnTo>
                <a:lnTo>
                  <a:pt x="7196" y="1444"/>
                </a:lnTo>
                <a:close/>
                <a:moveTo>
                  <a:pt x="7209" y="1481"/>
                </a:moveTo>
                <a:lnTo>
                  <a:pt x="7147" y="1542"/>
                </a:lnTo>
                <a:lnTo>
                  <a:pt x="7099" y="1481"/>
                </a:lnTo>
                <a:lnTo>
                  <a:pt x="7209" y="1481"/>
                </a:lnTo>
                <a:close/>
                <a:moveTo>
                  <a:pt x="7221" y="1505"/>
                </a:moveTo>
                <a:lnTo>
                  <a:pt x="7221" y="1615"/>
                </a:lnTo>
                <a:lnTo>
                  <a:pt x="7172" y="1567"/>
                </a:lnTo>
                <a:lnTo>
                  <a:pt x="7221" y="1505"/>
                </a:lnTo>
                <a:close/>
                <a:moveTo>
                  <a:pt x="7172" y="1371"/>
                </a:moveTo>
                <a:lnTo>
                  <a:pt x="7221" y="1322"/>
                </a:lnTo>
                <a:lnTo>
                  <a:pt x="7221" y="1432"/>
                </a:lnTo>
                <a:lnTo>
                  <a:pt x="7172" y="1371"/>
                </a:lnTo>
                <a:close/>
                <a:moveTo>
                  <a:pt x="7172" y="1187"/>
                </a:moveTo>
                <a:lnTo>
                  <a:pt x="7221" y="1126"/>
                </a:lnTo>
                <a:lnTo>
                  <a:pt x="7221" y="1248"/>
                </a:lnTo>
                <a:lnTo>
                  <a:pt x="7172" y="1187"/>
                </a:lnTo>
                <a:close/>
                <a:moveTo>
                  <a:pt x="7147" y="1175"/>
                </a:moveTo>
                <a:lnTo>
                  <a:pt x="7099" y="1114"/>
                </a:lnTo>
                <a:lnTo>
                  <a:pt x="7209" y="1114"/>
                </a:lnTo>
                <a:lnTo>
                  <a:pt x="7147" y="1175"/>
                </a:lnTo>
                <a:close/>
                <a:moveTo>
                  <a:pt x="7099" y="1077"/>
                </a:moveTo>
                <a:lnTo>
                  <a:pt x="7135" y="1028"/>
                </a:lnTo>
                <a:lnTo>
                  <a:pt x="7160" y="1028"/>
                </a:lnTo>
                <a:lnTo>
                  <a:pt x="7196" y="1077"/>
                </a:lnTo>
                <a:lnTo>
                  <a:pt x="7099" y="1077"/>
                </a:lnTo>
                <a:close/>
                <a:moveTo>
                  <a:pt x="7111" y="1028"/>
                </a:moveTo>
                <a:lnTo>
                  <a:pt x="7074" y="1065"/>
                </a:lnTo>
                <a:lnTo>
                  <a:pt x="7074" y="1028"/>
                </a:lnTo>
                <a:lnTo>
                  <a:pt x="7111" y="1028"/>
                </a:lnTo>
                <a:close/>
                <a:moveTo>
                  <a:pt x="7135" y="1187"/>
                </a:moveTo>
                <a:lnTo>
                  <a:pt x="7074" y="1248"/>
                </a:lnTo>
                <a:lnTo>
                  <a:pt x="7074" y="1126"/>
                </a:lnTo>
                <a:lnTo>
                  <a:pt x="7135" y="1187"/>
                </a:lnTo>
                <a:close/>
                <a:moveTo>
                  <a:pt x="7135" y="1371"/>
                </a:moveTo>
                <a:lnTo>
                  <a:pt x="7074" y="1432"/>
                </a:lnTo>
                <a:lnTo>
                  <a:pt x="7074" y="1310"/>
                </a:lnTo>
                <a:lnTo>
                  <a:pt x="7135" y="1371"/>
                </a:lnTo>
                <a:close/>
                <a:moveTo>
                  <a:pt x="7135" y="1567"/>
                </a:moveTo>
                <a:lnTo>
                  <a:pt x="7074" y="1628"/>
                </a:lnTo>
                <a:lnTo>
                  <a:pt x="7074" y="1505"/>
                </a:lnTo>
                <a:lnTo>
                  <a:pt x="7135" y="1567"/>
                </a:lnTo>
                <a:close/>
                <a:moveTo>
                  <a:pt x="7147" y="1579"/>
                </a:moveTo>
                <a:lnTo>
                  <a:pt x="7221" y="1652"/>
                </a:lnTo>
                <a:lnTo>
                  <a:pt x="7221" y="1701"/>
                </a:lnTo>
                <a:lnTo>
                  <a:pt x="7074" y="1701"/>
                </a:lnTo>
                <a:lnTo>
                  <a:pt x="7074" y="1664"/>
                </a:lnTo>
                <a:lnTo>
                  <a:pt x="7147" y="1579"/>
                </a:lnTo>
                <a:close/>
                <a:moveTo>
                  <a:pt x="7221" y="1065"/>
                </a:moveTo>
                <a:lnTo>
                  <a:pt x="7196" y="1028"/>
                </a:lnTo>
                <a:lnTo>
                  <a:pt x="7221" y="1028"/>
                </a:lnTo>
                <a:lnTo>
                  <a:pt x="7221" y="1065"/>
                </a:lnTo>
                <a:close/>
                <a:moveTo>
                  <a:pt x="7221" y="477"/>
                </a:moveTo>
                <a:lnTo>
                  <a:pt x="7172" y="416"/>
                </a:lnTo>
                <a:lnTo>
                  <a:pt x="7221" y="355"/>
                </a:lnTo>
                <a:lnTo>
                  <a:pt x="7221" y="477"/>
                </a:lnTo>
                <a:close/>
                <a:moveTo>
                  <a:pt x="7209" y="343"/>
                </a:moveTo>
                <a:lnTo>
                  <a:pt x="7147" y="392"/>
                </a:lnTo>
                <a:lnTo>
                  <a:pt x="7099" y="343"/>
                </a:lnTo>
                <a:lnTo>
                  <a:pt x="7209" y="343"/>
                </a:lnTo>
                <a:close/>
                <a:moveTo>
                  <a:pt x="7074" y="355"/>
                </a:moveTo>
                <a:lnTo>
                  <a:pt x="7135" y="416"/>
                </a:lnTo>
                <a:lnTo>
                  <a:pt x="7074" y="477"/>
                </a:lnTo>
                <a:lnTo>
                  <a:pt x="7074" y="355"/>
                </a:lnTo>
                <a:close/>
                <a:moveTo>
                  <a:pt x="7074" y="538"/>
                </a:moveTo>
                <a:lnTo>
                  <a:pt x="7135" y="600"/>
                </a:lnTo>
                <a:lnTo>
                  <a:pt x="7074" y="661"/>
                </a:lnTo>
                <a:lnTo>
                  <a:pt x="7074" y="538"/>
                </a:lnTo>
                <a:close/>
                <a:moveTo>
                  <a:pt x="7209" y="1750"/>
                </a:moveTo>
                <a:lnTo>
                  <a:pt x="7147" y="1824"/>
                </a:lnTo>
                <a:lnTo>
                  <a:pt x="7074" y="1750"/>
                </a:lnTo>
                <a:lnTo>
                  <a:pt x="7209" y="1750"/>
                </a:lnTo>
                <a:close/>
                <a:moveTo>
                  <a:pt x="7050" y="1775"/>
                </a:moveTo>
                <a:lnTo>
                  <a:pt x="7123" y="1848"/>
                </a:lnTo>
                <a:lnTo>
                  <a:pt x="7050" y="1934"/>
                </a:lnTo>
                <a:lnTo>
                  <a:pt x="7050" y="1775"/>
                </a:lnTo>
                <a:close/>
                <a:moveTo>
                  <a:pt x="7050" y="2019"/>
                </a:moveTo>
                <a:lnTo>
                  <a:pt x="7123" y="2093"/>
                </a:lnTo>
                <a:lnTo>
                  <a:pt x="7050" y="2178"/>
                </a:lnTo>
                <a:lnTo>
                  <a:pt x="7050" y="2019"/>
                </a:lnTo>
                <a:close/>
                <a:moveTo>
                  <a:pt x="7050" y="2264"/>
                </a:moveTo>
                <a:lnTo>
                  <a:pt x="7123" y="2338"/>
                </a:lnTo>
                <a:lnTo>
                  <a:pt x="7050" y="2423"/>
                </a:lnTo>
                <a:lnTo>
                  <a:pt x="7050" y="2264"/>
                </a:lnTo>
                <a:close/>
                <a:moveTo>
                  <a:pt x="7050" y="2497"/>
                </a:moveTo>
                <a:lnTo>
                  <a:pt x="7123" y="2582"/>
                </a:lnTo>
                <a:lnTo>
                  <a:pt x="7050" y="2656"/>
                </a:lnTo>
                <a:lnTo>
                  <a:pt x="7050" y="2497"/>
                </a:lnTo>
                <a:close/>
                <a:moveTo>
                  <a:pt x="7050" y="2705"/>
                </a:moveTo>
                <a:lnTo>
                  <a:pt x="7050" y="2705"/>
                </a:lnTo>
                <a:lnTo>
                  <a:pt x="7147" y="2607"/>
                </a:lnTo>
                <a:lnTo>
                  <a:pt x="7233" y="2705"/>
                </a:lnTo>
                <a:lnTo>
                  <a:pt x="7233" y="2741"/>
                </a:lnTo>
                <a:lnTo>
                  <a:pt x="7050" y="2741"/>
                </a:lnTo>
                <a:lnTo>
                  <a:pt x="7050" y="2705"/>
                </a:lnTo>
                <a:close/>
                <a:moveTo>
                  <a:pt x="7209" y="2986"/>
                </a:moveTo>
                <a:lnTo>
                  <a:pt x="7086" y="2986"/>
                </a:lnTo>
                <a:lnTo>
                  <a:pt x="7147" y="2913"/>
                </a:lnTo>
                <a:lnTo>
                  <a:pt x="7209" y="2986"/>
                </a:lnTo>
                <a:close/>
                <a:moveTo>
                  <a:pt x="7074" y="2790"/>
                </a:moveTo>
                <a:lnTo>
                  <a:pt x="7209" y="2790"/>
                </a:lnTo>
                <a:lnTo>
                  <a:pt x="7147" y="2864"/>
                </a:lnTo>
                <a:lnTo>
                  <a:pt x="7074" y="2790"/>
                </a:lnTo>
                <a:close/>
                <a:moveTo>
                  <a:pt x="7209" y="3035"/>
                </a:moveTo>
                <a:lnTo>
                  <a:pt x="7147" y="3109"/>
                </a:lnTo>
                <a:lnTo>
                  <a:pt x="7074" y="3035"/>
                </a:lnTo>
                <a:lnTo>
                  <a:pt x="7209" y="3035"/>
                </a:lnTo>
                <a:close/>
                <a:moveTo>
                  <a:pt x="7209" y="3231"/>
                </a:moveTo>
                <a:lnTo>
                  <a:pt x="7086" y="3231"/>
                </a:lnTo>
                <a:lnTo>
                  <a:pt x="7147" y="3158"/>
                </a:lnTo>
                <a:lnTo>
                  <a:pt x="7209" y="3231"/>
                </a:lnTo>
                <a:close/>
                <a:moveTo>
                  <a:pt x="7209" y="3280"/>
                </a:moveTo>
                <a:lnTo>
                  <a:pt x="7147" y="3353"/>
                </a:lnTo>
                <a:lnTo>
                  <a:pt x="7074" y="3280"/>
                </a:lnTo>
                <a:lnTo>
                  <a:pt x="7209" y="3280"/>
                </a:lnTo>
                <a:close/>
                <a:moveTo>
                  <a:pt x="7209" y="3476"/>
                </a:moveTo>
                <a:lnTo>
                  <a:pt x="7086" y="3476"/>
                </a:lnTo>
                <a:lnTo>
                  <a:pt x="7147" y="3402"/>
                </a:lnTo>
                <a:lnTo>
                  <a:pt x="7209" y="3476"/>
                </a:lnTo>
                <a:close/>
                <a:moveTo>
                  <a:pt x="7209" y="3525"/>
                </a:moveTo>
                <a:lnTo>
                  <a:pt x="7147" y="3598"/>
                </a:lnTo>
                <a:lnTo>
                  <a:pt x="7074" y="3525"/>
                </a:lnTo>
                <a:lnTo>
                  <a:pt x="7209" y="3525"/>
                </a:lnTo>
                <a:close/>
                <a:moveTo>
                  <a:pt x="7233" y="3549"/>
                </a:moveTo>
                <a:lnTo>
                  <a:pt x="7233" y="3696"/>
                </a:lnTo>
                <a:lnTo>
                  <a:pt x="7172" y="3623"/>
                </a:lnTo>
                <a:lnTo>
                  <a:pt x="7233" y="3549"/>
                </a:lnTo>
                <a:close/>
                <a:moveTo>
                  <a:pt x="7172" y="3378"/>
                </a:moveTo>
                <a:lnTo>
                  <a:pt x="7233" y="3304"/>
                </a:lnTo>
                <a:lnTo>
                  <a:pt x="7233" y="3451"/>
                </a:lnTo>
                <a:lnTo>
                  <a:pt x="7172" y="3378"/>
                </a:lnTo>
                <a:close/>
                <a:moveTo>
                  <a:pt x="7172" y="3133"/>
                </a:moveTo>
                <a:lnTo>
                  <a:pt x="7233" y="3060"/>
                </a:lnTo>
                <a:lnTo>
                  <a:pt x="7233" y="3207"/>
                </a:lnTo>
                <a:lnTo>
                  <a:pt x="7172" y="3133"/>
                </a:lnTo>
                <a:close/>
                <a:moveTo>
                  <a:pt x="7172" y="2888"/>
                </a:moveTo>
                <a:lnTo>
                  <a:pt x="7233" y="2815"/>
                </a:lnTo>
                <a:lnTo>
                  <a:pt x="7233" y="2962"/>
                </a:lnTo>
                <a:lnTo>
                  <a:pt x="7172" y="2888"/>
                </a:lnTo>
                <a:close/>
                <a:moveTo>
                  <a:pt x="7050" y="2815"/>
                </a:moveTo>
                <a:lnTo>
                  <a:pt x="7123" y="2888"/>
                </a:lnTo>
                <a:lnTo>
                  <a:pt x="7050" y="2974"/>
                </a:lnTo>
                <a:lnTo>
                  <a:pt x="7050" y="2815"/>
                </a:lnTo>
                <a:close/>
                <a:moveTo>
                  <a:pt x="7050" y="3060"/>
                </a:moveTo>
                <a:lnTo>
                  <a:pt x="7123" y="3133"/>
                </a:lnTo>
                <a:lnTo>
                  <a:pt x="7050" y="3219"/>
                </a:lnTo>
                <a:lnTo>
                  <a:pt x="7050" y="3060"/>
                </a:lnTo>
                <a:close/>
                <a:moveTo>
                  <a:pt x="7050" y="3292"/>
                </a:moveTo>
                <a:lnTo>
                  <a:pt x="7123" y="3378"/>
                </a:lnTo>
                <a:lnTo>
                  <a:pt x="7050" y="3451"/>
                </a:lnTo>
                <a:lnTo>
                  <a:pt x="7050" y="3292"/>
                </a:lnTo>
                <a:close/>
                <a:moveTo>
                  <a:pt x="7050" y="3537"/>
                </a:moveTo>
                <a:lnTo>
                  <a:pt x="7123" y="3623"/>
                </a:lnTo>
                <a:lnTo>
                  <a:pt x="7050" y="3696"/>
                </a:lnTo>
                <a:lnTo>
                  <a:pt x="7050" y="3537"/>
                </a:lnTo>
                <a:close/>
                <a:moveTo>
                  <a:pt x="7050" y="3806"/>
                </a:moveTo>
                <a:lnTo>
                  <a:pt x="7050" y="3745"/>
                </a:lnTo>
                <a:lnTo>
                  <a:pt x="7050" y="3745"/>
                </a:lnTo>
                <a:lnTo>
                  <a:pt x="7147" y="3647"/>
                </a:lnTo>
                <a:lnTo>
                  <a:pt x="7233" y="3745"/>
                </a:lnTo>
                <a:lnTo>
                  <a:pt x="7233" y="3806"/>
                </a:lnTo>
                <a:lnTo>
                  <a:pt x="7282" y="3806"/>
                </a:lnTo>
                <a:lnTo>
                  <a:pt x="7282" y="3818"/>
                </a:lnTo>
                <a:lnTo>
                  <a:pt x="7050" y="3818"/>
                </a:lnTo>
                <a:lnTo>
                  <a:pt x="7050" y="3806"/>
                </a:lnTo>
                <a:lnTo>
                  <a:pt x="7050" y="3806"/>
                </a:lnTo>
                <a:close/>
                <a:moveTo>
                  <a:pt x="6389" y="1383"/>
                </a:moveTo>
                <a:lnTo>
                  <a:pt x="6621" y="1383"/>
                </a:lnTo>
                <a:lnTo>
                  <a:pt x="6621" y="1493"/>
                </a:lnTo>
                <a:lnTo>
                  <a:pt x="6389" y="1493"/>
                </a:lnTo>
                <a:lnTo>
                  <a:pt x="6389" y="1383"/>
                </a:lnTo>
                <a:close/>
                <a:moveTo>
                  <a:pt x="6389" y="1554"/>
                </a:moveTo>
                <a:lnTo>
                  <a:pt x="6621" y="1554"/>
                </a:lnTo>
                <a:lnTo>
                  <a:pt x="6621" y="1664"/>
                </a:lnTo>
                <a:lnTo>
                  <a:pt x="6389" y="1664"/>
                </a:lnTo>
                <a:lnTo>
                  <a:pt x="6389" y="1554"/>
                </a:lnTo>
                <a:close/>
                <a:moveTo>
                  <a:pt x="6389" y="1713"/>
                </a:moveTo>
                <a:lnTo>
                  <a:pt x="6621" y="1713"/>
                </a:lnTo>
                <a:lnTo>
                  <a:pt x="6621" y="1824"/>
                </a:lnTo>
                <a:lnTo>
                  <a:pt x="6389" y="1824"/>
                </a:lnTo>
                <a:lnTo>
                  <a:pt x="6389" y="1713"/>
                </a:lnTo>
                <a:close/>
                <a:moveTo>
                  <a:pt x="6389" y="1885"/>
                </a:moveTo>
                <a:lnTo>
                  <a:pt x="6621" y="1885"/>
                </a:lnTo>
                <a:lnTo>
                  <a:pt x="6621" y="1995"/>
                </a:lnTo>
                <a:lnTo>
                  <a:pt x="6389" y="1995"/>
                </a:lnTo>
                <a:lnTo>
                  <a:pt x="6389" y="1885"/>
                </a:lnTo>
                <a:close/>
                <a:moveTo>
                  <a:pt x="6389" y="2044"/>
                </a:moveTo>
                <a:lnTo>
                  <a:pt x="6621" y="2044"/>
                </a:lnTo>
                <a:lnTo>
                  <a:pt x="6621" y="2154"/>
                </a:lnTo>
                <a:lnTo>
                  <a:pt x="6389" y="2154"/>
                </a:lnTo>
                <a:lnTo>
                  <a:pt x="6389" y="2044"/>
                </a:lnTo>
                <a:close/>
                <a:moveTo>
                  <a:pt x="6389" y="2215"/>
                </a:moveTo>
                <a:lnTo>
                  <a:pt x="6621" y="2215"/>
                </a:lnTo>
                <a:lnTo>
                  <a:pt x="6621" y="2325"/>
                </a:lnTo>
                <a:lnTo>
                  <a:pt x="6389" y="2325"/>
                </a:lnTo>
                <a:lnTo>
                  <a:pt x="6389" y="2215"/>
                </a:lnTo>
                <a:close/>
                <a:moveTo>
                  <a:pt x="6389" y="2374"/>
                </a:moveTo>
                <a:lnTo>
                  <a:pt x="6621" y="2374"/>
                </a:lnTo>
                <a:lnTo>
                  <a:pt x="6621" y="2484"/>
                </a:lnTo>
                <a:lnTo>
                  <a:pt x="6389" y="2484"/>
                </a:lnTo>
                <a:lnTo>
                  <a:pt x="6389" y="2374"/>
                </a:lnTo>
                <a:close/>
                <a:moveTo>
                  <a:pt x="6389" y="2546"/>
                </a:moveTo>
                <a:lnTo>
                  <a:pt x="6621" y="2546"/>
                </a:lnTo>
                <a:lnTo>
                  <a:pt x="6621" y="2656"/>
                </a:lnTo>
                <a:lnTo>
                  <a:pt x="6389" y="2656"/>
                </a:lnTo>
                <a:lnTo>
                  <a:pt x="6389" y="2546"/>
                </a:lnTo>
                <a:close/>
                <a:moveTo>
                  <a:pt x="6389" y="2705"/>
                </a:moveTo>
                <a:lnTo>
                  <a:pt x="6621" y="2705"/>
                </a:lnTo>
                <a:lnTo>
                  <a:pt x="6621" y="2815"/>
                </a:lnTo>
                <a:lnTo>
                  <a:pt x="6389" y="2815"/>
                </a:lnTo>
                <a:lnTo>
                  <a:pt x="6389" y="2705"/>
                </a:lnTo>
                <a:close/>
                <a:moveTo>
                  <a:pt x="6389" y="2876"/>
                </a:moveTo>
                <a:lnTo>
                  <a:pt x="6621" y="2876"/>
                </a:lnTo>
                <a:lnTo>
                  <a:pt x="6621" y="2974"/>
                </a:lnTo>
                <a:lnTo>
                  <a:pt x="6389" y="2974"/>
                </a:lnTo>
                <a:lnTo>
                  <a:pt x="6389" y="2876"/>
                </a:lnTo>
                <a:close/>
                <a:moveTo>
                  <a:pt x="5985" y="1383"/>
                </a:moveTo>
                <a:lnTo>
                  <a:pt x="6217" y="1383"/>
                </a:lnTo>
                <a:lnTo>
                  <a:pt x="6217" y="1493"/>
                </a:lnTo>
                <a:lnTo>
                  <a:pt x="5985" y="1493"/>
                </a:lnTo>
                <a:lnTo>
                  <a:pt x="5985" y="1383"/>
                </a:lnTo>
                <a:close/>
                <a:moveTo>
                  <a:pt x="5985" y="1554"/>
                </a:moveTo>
                <a:lnTo>
                  <a:pt x="6217" y="1554"/>
                </a:lnTo>
                <a:lnTo>
                  <a:pt x="6217" y="1664"/>
                </a:lnTo>
                <a:lnTo>
                  <a:pt x="5985" y="1664"/>
                </a:lnTo>
                <a:lnTo>
                  <a:pt x="5985" y="1554"/>
                </a:lnTo>
                <a:close/>
                <a:moveTo>
                  <a:pt x="5985" y="1713"/>
                </a:moveTo>
                <a:lnTo>
                  <a:pt x="6217" y="1713"/>
                </a:lnTo>
                <a:lnTo>
                  <a:pt x="6217" y="1824"/>
                </a:lnTo>
                <a:lnTo>
                  <a:pt x="5985" y="1824"/>
                </a:lnTo>
                <a:lnTo>
                  <a:pt x="5985" y="1713"/>
                </a:lnTo>
                <a:close/>
                <a:moveTo>
                  <a:pt x="5985" y="1885"/>
                </a:moveTo>
                <a:lnTo>
                  <a:pt x="6217" y="1885"/>
                </a:lnTo>
                <a:lnTo>
                  <a:pt x="6217" y="1995"/>
                </a:lnTo>
                <a:lnTo>
                  <a:pt x="5985" y="1995"/>
                </a:lnTo>
                <a:lnTo>
                  <a:pt x="5985" y="1885"/>
                </a:lnTo>
                <a:close/>
                <a:moveTo>
                  <a:pt x="5985" y="2044"/>
                </a:moveTo>
                <a:lnTo>
                  <a:pt x="6217" y="2044"/>
                </a:lnTo>
                <a:lnTo>
                  <a:pt x="6217" y="2154"/>
                </a:lnTo>
                <a:lnTo>
                  <a:pt x="5985" y="2154"/>
                </a:lnTo>
                <a:lnTo>
                  <a:pt x="5985" y="2044"/>
                </a:lnTo>
                <a:close/>
                <a:moveTo>
                  <a:pt x="5985" y="2215"/>
                </a:moveTo>
                <a:lnTo>
                  <a:pt x="6217" y="2215"/>
                </a:lnTo>
                <a:lnTo>
                  <a:pt x="6217" y="2325"/>
                </a:lnTo>
                <a:lnTo>
                  <a:pt x="5985" y="2325"/>
                </a:lnTo>
                <a:lnTo>
                  <a:pt x="5985" y="2215"/>
                </a:lnTo>
                <a:close/>
                <a:moveTo>
                  <a:pt x="5985" y="2374"/>
                </a:moveTo>
                <a:lnTo>
                  <a:pt x="6217" y="2374"/>
                </a:lnTo>
                <a:lnTo>
                  <a:pt x="6217" y="2484"/>
                </a:lnTo>
                <a:lnTo>
                  <a:pt x="5985" y="2484"/>
                </a:lnTo>
                <a:lnTo>
                  <a:pt x="5985" y="2374"/>
                </a:lnTo>
                <a:close/>
                <a:moveTo>
                  <a:pt x="5985" y="2546"/>
                </a:moveTo>
                <a:lnTo>
                  <a:pt x="6217" y="2546"/>
                </a:lnTo>
                <a:lnTo>
                  <a:pt x="6217" y="2656"/>
                </a:lnTo>
                <a:lnTo>
                  <a:pt x="5985" y="2656"/>
                </a:lnTo>
                <a:lnTo>
                  <a:pt x="5985" y="2546"/>
                </a:lnTo>
                <a:close/>
                <a:moveTo>
                  <a:pt x="5985" y="2705"/>
                </a:moveTo>
                <a:lnTo>
                  <a:pt x="6217" y="2705"/>
                </a:lnTo>
                <a:lnTo>
                  <a:pt x="6217" y="2815"/>
                </a:lnTo>
                <a:lnTo>
                  <a:pt x="5985" y="2815"/>
                </a:lnTo>
                <a:lnTo>
                  <a:pt x="5985" y="2705"/>
                </a:lnTo>
                <a:close/>
                <a:moveTo>
                  <a:pt x="5985" y="2876"/>
                </a:moveTo>
                <a:lnTo>
                  <a:pt x="6217" y="2876"/>
                </a:lnTo>
                <a:lnTo>
                  <a:pt x="6217" y="2974"/>
                </a:lnTo>
                <a:lnTo>
                  <a:pt x="5985" y="2974"/>
                </a:lnTo>
                <a:lnTo>
                  <a:pt x="5985" y="2876"/>
                </a:lnTo>
                <a:close/>
                <a:moveTo>
                  <a:pt x="5312" y="3378"/>
                </a:moveTo>
                <a:lnTo>
                  <a:pt x="5373" y="3378"/>
                </a:lnTo>
                <a:lnTo>
                  <a:pt x="5373" y="3464"/>
                </a:lnTo>
                <a:lnTo>
                  <a:pt x="5312" y="3464"/>
                </a:lnTo>
                <a:lnTo>
                  <a:pt x="5312" y="3378"/>
                </a:lnTo>
                <a:close/>
                <a:moveTo>
                  <a:pt x="5312" y="3500"/>
                </a:moveTo>
                <a:lnTo>
                  <a:pt x="5373" y="3500"/>
                </a:lnTo>
                <a:lnTo>
                  <a:pt x="5373" y="3525"/>
                </a:lnTo>
                <a:lnTo>
                  <a:pt x="5312" y="3525"/>
                </a:lnTo>
                <a:lnTo>
                  <a:pt x="5312" y="3500"/>
                </a:lnTo>
                <a:close/>
                <a:moveTo>
                  <a:pt x="5312" y="3549"/>
                </a:moveTo>
                <a:lnTo>
                  <a:pt x="5373" y="3549"/>
                </a:lnTo>
                <a:lnTo>
                  <a:pt x="5373" y="3549"/>
                </a:lnTo>
                <a:lnTo>
                  <a:pt x="5312" y="3549"/>
                </a:lnTo>
                <a:lnTo>
                  <a:pt x="5312" y="3549"/>
                </a:lnTo>
                <a:close/>
                <a:moveTo>
                  <a:pt x="5312" y="3586"/>
                </a:moveTo>
                <a:lnTo>
                  <a:pt x="5373" y="3586"/>
                </a:lnTo>
                <a:lnTo>
                  <a:pt x="5373" y="3659"/>
                </a:lnTo>
                <a:lnTo>
                  <a:pt x="5312" y="3659"/>
                </a:lnTo>
                <a:lnTo>
                  <a:pt x="5312" y="3586"/>
                </a:lnTo>
                <a:close/>
                <a:moveTo>
                  <a:pt x="5312" y="3708"/>
                </a:moveTo>
                <a:lnTo>
                  <a:pt x="5373" y="3708"/>
                </a:lnTo>
                <a:lnTo>
                  <a:pt x="5373" y="3745"/>
                </a:lnTo>
                <a:lnTo>
                  <a:pt x="5312" y="3745"/>
                </a:lnTo>
                <a:lnTo>
                  <a:pt x="5312" y="3708"/>
                </a:lnTo>
                <a:close/>
                <a:moveTo>
                  <a:pt x="5373" y="3782"/>
                </a:moveTo>
                <a:lnTo>
                  <a:pt x="5373" y="3818"/>
                </a:lnTo>
                <a:lnTo>
                  <a:pt x="5312" y="3818"/>
                </a:lnTo>
                <a:lnTo>
                  <a:pt x="5312" y="3782"/>
                </a:lnTo>
                <a:lnTo>
                  <a:pt x="5373" y="3782"/>
                </a:lnTo>
                <a:close/>
                <a:moveTo>
                  <a:pt x="5275" y="3549"/>
                </a:moveTo>
                <a:lnTo>
                  <a:pt x="5275" y="3549"/>
                </a:lnTo>
                <a:lnTo>
                  <a:pt x="5238" y="3549"/>
                </a:lnTo>
                <a:lnTo>
                  <a:pt x="5238" y="3549"/>
                </a:lnTo>
                <a:lnTo>
                  <a:pt x="5275" y="3549"/>
                </a:lnTo>
                <a:close/>
                <a:moveTo>
                  <a:pt x="5238" y="3525"/>
                </a:moveTo>
                <a:lnTo>
                  <a:pt x="5238" y="3500"/>
                </a:lnTo>
                <a:lnTo>
                  <a:pt x="5275" y="3500"/>
                </a:lnTo>
                <a:lnTo>
                  <a:pt x="5275" y="3525"/>
                </a:lnTo>
                <a:lnTo>
                  <a:pt x="5238" y="3525"/>
                </a:lnTo>
                <a:close/>
                <a:moveTo>
                  <a:pt x="5275" y="3586"/>
                </a:moveTo>
                <a:lnTo>
                  <a:pt x="5275" y="3659"/>
                </a:lnTo>
                <a:lnTo>
                  <a:pt x="5238" y="3659"/>
                </a:lnTo>
                <a:lnTo>
                  <a:pt x="5238" y="3586"/>
                </a:lnTo>
                <a:lnTo>
                  <a:pt x="5275" y="3586"/>
                </a:lnTo>
                <a:close/>
                <a:moveTo>
                  <a:pt x="5275" y="3708"/>
                </a:moveTo>
                <a:lnTo>
                  <a:pt x="5275" y="3745"/>
                </a:lnTo>
                <a:lnTo>
                  <a:pt x="5238" y="3745"/>
                </a:lnTo>
                <a:lnTo>
                  <a:pt x="5238" y="3708"/>
                </a:lnTo>
                <a:lnTo>
                  <a:pt x="5275" y="3708"/>
                </a:lnTo>
                <a:close/>
                <a:moveTo>
                  <a:pt x="5275" y="3782"/>
                </a:moveTo>
                <a:lnTo>
                  <a:pt x="5275" y="3818"/>
                </a:lnTo>
                <a:lnTo>
                  <a:pt x="5238" y="3818"/>
                </a:lnTo>
                <a:lnTo>
                  <a:pt x="5238" y="3782"/>
                </a:lnTo>
                <a:lnTo>
                  <a:pt x="5275" y="3782"/>
                </a:lnTo>
                <a:close/>
                <a:moveTo>
                  <a:pt x="5189" y="3047"/>
                </a:moveTo>
                <a:lnTo>
                  <a:pt x="5275" y="3047"/>
                </a:lnTo>
                <a:lnTo>
                  <a:pt x="5275" y="3182"/>
                </a:lnTo>
                <a:lnTo>
                  <a:pt x="5189" y="3182"/>
                </a:lnTo>
                <a:lnTo>
                  <a:pt x="5189" y="3047"/>
                </a:lnTo>
                <a:close/>
                <a:moveTo>
                  <a:pt x="5189" y="3207"/>
                </a:moveTo>
                <a:lnTo>
                  <a:pt x="5275" y="3207"/>
                </a:lnTo>
                <a:lnTo>
                  <a:pt x="5275" y="3341"/>
                </a:lnTo>
                <a:lnTo>
                  <a:pt x="5189" y="3341"/>
                </a:lnTo>
                <a:lnTo>
                  <a:pt x="5189" y="3207"/>
                </a:lnTo>
                <a:close/>
                <a:moveTo>
                  <a:pt x="5189" y="3378"/>
                </a:moveTo>
                <a:lnTo>
                  <a:pt x="5275" y="3378"/>
                </a:lnTo>
                <a:lnTo>
                  <a:pt x="5275" y="3464"/>
                </a:lnTo>
                <a:lnTo>
                  <a:pt x="5238" y="3464"/>
                </a:lnTo>
                <a:lnTo>
                  <a:pt x="5238" y="3427"/>
                </a:lnTo>
                <a:lnTo>
                  <a:pt x="5201" y="3427"/>
                </a:lnTo>
                <a:lnTo>
                  <a:pt x="5201" y="3464"/>
                </a:lnTo>
                <a:lnTo>
                  <a:pt x="5189" y="3464"/>
                </a:lnTo>
                <a:lnTo>
                  <a:pt x="5189" y="3378"/>
                </a:lnTo>
                <a:close/>
                <a:moveTo>
                  <a:pt x="5189" y="3500"/>
                </a:moveTo>
                <a:lnTo>
                  <a:pt x="5201" y="3500"/>
                </a:lnTo>
                <a:lnTo>
                  <a:pt x="5201" y="3525"/>
                </a:lnTo>
                <a:lnTo>
                  <a:pt x="5189" y="3525"/>
                </a:lnTo>
                <a:lnTo>
                  <a:pt x="5189" y="3500"/>
                </a:lnTo>
                <a:close/>
                <a:moveTo>
                  <a:pt x="5189" y="3549"/>
                </a:moveTo>
                <a:lnTo>
                  <a:pt x="5201" y="3549"/>
                </a:lnTo>
                <a:lnTo>
                  <a:pt x="5201" y="3549"/>
                </a:lnTo>
                <a:lnTo>
                  <a:pt x="5189" y="3549"/>
                </a:lnTo>
                <a:lnTo>
                  <a:pt x="5189" y="3549"/>
                </a:lnTo>
                <a:close/>
                <a:moveTo>
                  <a:pt x="5189" y="3586"/>
                </a:moveTo>
                <a:lnTo>
                  <a:pt x="5201" y="3586"/>
                </a:lnTo>
                <a:lnTo>
                  <a:pt x="5201" y="3659"/>
                </a:lnTo>
                <a:lnTo>
                  <a:pt x="5189" y="3659"/>
                </a:lnTo>
                <a:lnTo>
                  <a:pt x="5189" y="3586"/>
                </a:lnTo>
                <a:close/>
                <a:moveTo>
                  <a:pt x="5189" y="3708"/>
                </a:moveTo>
                <a:lnTo>
                  <a:pt x="5201" y="3708"/>
                </a:lnTo>
                <a:lnTo>
                  <a:pt x="5201" y="3745"/>
                </a:lnTo>
                <a:lnTo>
                  <a:pt x="5189" y="3745"/>
                </a:lnTo>
                <a:lnTo>
                  <a:pt x="5189" y="3708"/>
                </a:lnTo>
                <a:close/>
                <a:moveTo>
                  <a:pt x="5201" y="3782"/>
                </a:moveTo>
                <a:lnTo>
                  <a:pt x="5201" y="3818"/>
                </a:lnTo>
                <a:lnTo>
                  <a:pt x="5189" y="3818"/>
                </a:lnTo>
                <a:lnTo>
                  <a:pt x="5189" y="3782"/>
                </a:lnTo>
                <a:lnTo>
                  <a:pt x="5201" y="3782"/>
                </a:lnTo>
                <a:close/>
                <a:moveTo>
                  <a:pt x="5153" y="3207"/>
                </a:moveTo>
                <a:lnTo>
                  <a:pt x="5153" y="3341"/>
                </a:lnTo>
                <a:lnTo>
                  <a:pt x="4969" y="3341"/>
                </a:lnTo>
                <a:lnTo>
                  <a:pt x="4969" y="3207"/>
                </a:lnTo>
                <a:lnTo>
                  <a:pt x="5153" y="3207"/>
                </a:lnTo>
                <a:close/>
                <a:moveTo>
                  <a:pt x="4969" y="3182"/>
                </a:moveTo>
                <a:lnTo>
                  <a:pt x="4969" y="3047"/>
                </a:lnTo>
                <a:lnTo>
                  <a:pt x="5153" y="3047"/>
                </a:lnTo>
                <a:lnTo>
                  <a:pt x="5153" y="3182"/>
                </a:lnTo>
                <a:lnTo>
                  <a:pt x="4969" y="3182"/>
                </a:lnTo>
                <a:close/>
                <a:moveTo>
                  <a:pt x="5153" y="3378"/>
                </a:moveTo>
                <a:lnTo>
                  <a:pt x="5153" y="3464"/>
                </a:lnTo>
                <a:lnTo>
                  <a:pt x="5067" y="3464"/>
                </a:lnTo>
                <a:lnTo>
                  <a:pt x="5067" y="3451"/>
                </a:lnTo>
                <a:lnTo>
                  <a:pt x="5030" y="3451"/>
                </a:lnTo>
                <a:lnTo>
                  <a:pt x="5030" y="3464"/>
                </a:lnTo>
                <a:lnTo>
                  <a:pt x="4969" y="3464"/>
                </a:lnTo>
                <a:lnTo>
                  <a:pt x="4969" y="3378"/>
                </a:lnTo>
                <a:lnTo>
                  <a:pt x="5153" y="3378"/>
                </a:lnTo>
                <a:close/>
                <a:moveTo>
                  <a:pt x="5067" y="3659"/>
                </a:moveTo>
                <a:lnTo>
                  <a:pt x="5067" y="3586"/>
                </a:lnTo>
                <a:lnTo>
                  <a:pt x="5153" y="3586"/>
                </a:lnTo>
                <a:lnTo>
                  <a:pt x="5153" y="3659"/>
                </a:lnTo>
                <a:lnTo>
                  <a:pt x="5067" y="3659"/>
                </a:lnTo>
                <a:close/>
                <a:moveTo>
                  <a:pt x="5153" y="3708"/>
                </a:moveTo>
                <a:lnTo>
                  <a:pt x="5153" y="3745"/>
                </a:lnTo>
                <a:lnTo>
                  <a:pt x="5067" y="3745"/>
                </a:lnTo>
                <a:lnTo>
                  <a:pt x="5067" y="3708"/>
                </a:lnTo>
                <a:lnTo>
                  <a:pt x="5153" y="3708"/>
                </a:lnTo>
                <a:close/>
                <a:moveTo>
                  <a:pt x="5067" y="3549"/>
                </a:moveTo>
                <a:lnTo>
                  <a:pt x="5067" y="3549"/>
                </a:lnTo>
                <a:lnTo>
                  <a:pt x="5153" y="3549"/>
                </a:lnTo>
                <a:lnTo>
                  <a:pt x="5153" y="3549"/>
                </a:lnTo>
                <a:lnTo>
                  <a:pt x="5067" y="3549"/>
                </a:lnTo>
                <a:close/>
                <a:moveTo>
                  <a:pt x="5067" y="3525"/>
                </a:moveTo>
                <a:lnTo>
                  <a:pt x="5067" y="3500"/>
                </a:lnTo>
                <a:lnTo>
                  <a:pt x="5153" y="3500"/>
                </a:lnTo>
                <a:lnTo>
                  <a:pt x="5153" y="3525"/>
                </a:lnTo>
                <a:lnTo>
                  <a:pt x="5067" y="3525"/>
                </a:lnTo>
                <a:close/>
                <a:moveTo>
                  <a:pt x="5030" y="3500"/>
                </a:moveTo>
                <a:lnTo>
                  <a:pt x="5030" y="3525"/>
                </a:lnTo>
                <a:lnTo>
                  <a:pt x="4969" y="3525"/>
                </a:lnTo>
                <a:lnTo>
                  <a:pt x="4969" y="3500"/>
                </a:lnTo>
                <a:lnTo>
                  <a:pt x="5030" y="3500"/>
                </a:lnTo>
                <a:close/>
                <a:moveTo>
                  <a:pt x="5030" y="3549"/>
                </a:moveTo>
                <a:lnTo>
                  <a:pt x="5030" y="3549"/>
                </a:lnTo>
                <a:lnTo>
                  <a:pt x="4969" y="3549"/>
                </a:lnTo>
                <a:lnTo>
                  <a:pt x="4969" y="3549"/>
                </a:lnTo>
                <a:lnTo>
                  <a:pt x="5030" y="3549"/>
                </a:lnTo>
                <a:close/>
                <a:moveTo>
                  <a:pt x="5030" y="3586"/>
                </a:moveTo>
                <a:lnTo>
                  <a:pt x="5030" y="3659"/>
                </a:lnTo>
                <a:lnTo>
                  <a:pt x="4969" y="3659"/>
                </a:lnTo>
                <a:lnTo>
                  <a:pt x="4969" y="3586"/>
                </a:lnTo>
                <a:lnTo>
                  <a:pt x="5030" y="3586"/>
                </a:lnTo>
                <a:close/>
                <a:moveTo>
                  <a:pt x="5030" y="3708"/>
                </a:moveTo>
                <a:lnTo>
                  <a:pt x="5030" y="3745"/>
                </a:lnTo>
                <a:lnTo>
                  <a:pt x="4969" y="3745"/>
                </a:lnTo>
                <a:lnTo>
                  <a:pt x="4969" y="3708"/>
                </a:lnTo>
                <a:lnTo>
                  <a:pt x="5030" y="3708"/>
                </a:lnTo>
                <a:close/>
                <a:moveTo>
                  <a:pt x="5030" y="3782"/>
                </a:moveTo>
                <a:lnTo>
                  <a:pt x="5030" y="3818"/>
                </a:lnTo>
                <a:lnTo>
                  <a:pt x="4969" y="3818"/>
                </a:lnTo>
                <a:lnTo>
                  <a:pt x="4969" y="3782"/>
                </a:lnTo>
                <a:lnTo>
                  <a:pt x="5030" y="3782"/>
                </a:lnTo>
                <a:close/>
                <a:moveTo>
                  <a:pt x="5067" y="3782"/>
                </a:moveTo>
                <a:lnTo>
                  <a:pt x="5153" y="3782"/>
                </a:lnTo>
                <a:lnTo>
                  <a:pt x="5153" y="3818"/>
                </a:lnTo>
                <a:lnTo>
                  <a:pt x="5067" y="3818"/>
                </a:lnTo>
                <a:lnTo>
                  <a:pt x="5067" y="3782"/>
                </a:lnTo>
                <a:close/>
                <a:moveTo>
                  <a:pt x="4957" y="1750"/>
                </a:moveTo>
                <a:lnTo>
                  <a:pt x="5128" y="1750"/>
                </a:lnTo>
                <a:lnTo>
                  <a:pt x="5128" y="1885"/>
                </a:lnTo>
                <a:lnTo>
                  <a:pt x="4957" y="1885"/>
                </a:lnTo>
                <a:lnTo>
                  <a:pt x="4957" y="1750"/>
                </a:lnTo>
                <a:close/>
                <a:moveTo>
                  <a:pt x="4957" y="1909"/>
                </a:moveTo>
                <a:lnTo>
                  <a:pt x="5128" y="1909"/>
                </a:lnTo>
                <a:lnTo>
                  <a:pt x="5128" y="2044"/>
                </a:lnTo>
                <a:lnTo>
                  <a:pt x="4957" y="2044"/>
                </a:lnTo>
                <a:lnTo>
                  <a:pt x="4957" y="1909"/>
                </a:lnTo>
                <a:close/>
                <a:moveTo>
                  <a:pt x="4957" y="2081"/>
                </a:moveTo>
                <a:lnTo>
                  <a:pt x="5128" y="2081"/>
                </a:lnTo>
                <a:lnTo>
                  <a:pt x="5128" y="2203"/>
                </a:lnTo>
                <a:lnTo>
                  <a:pt x="4957" y="2203"/>
                </a:lnTo>
                <a:lnTo>
                  <a:pt x="4957" y="2081"/>
                </a:lnTo>
                <a:close/>
                <a:moveTo>
                  <a:pt x="4957" y="2240"/>
                </a:moveTo>
                <a:lnTo>
                  <a:pt x="5128" y="2240"/>
                </a:lnTo>
                <a:lnTo>
                  <a:pt x="5128" y="2350"/>
                </a:lnTo>
                <a:lnTo>
                  <a:pt x="4957" y="2350"/>
                </a:lnTo>
                <a:lnTo>
                  <a:pt x="4957" y="2240"/>
                </a:lnTo>
                <a:close/>
                <a:moveTo>
                  <a:pt x="4957" y="2374"/>
                </a:moveTo>
                <a:lnTo>
                  <a:pt x="5128" y="2374"/>
                </a:lnTo>
                <a:lnTo>
                  <a:pt x="5128" y="2509"/>
                </a:lnTo>
                <a:lnTo>
                  <a:pt x="4957" y="2509"/>
                </a:lnTo>
                <a:lnTo>
                  <a:pt x="4957" y="2374"/>
                </a:lnTo>
                <a:close/>
                <a:moveTo>
                  <a:pt x="4957" y="2546"/>
                </a:moveTo>
                <a:lnTo>
                  <a:pt x="5128" y="2546"/>
                </a:lnTo>
                <a:lnTo>
                  <a:pt x="5128" y="2680"/>
                </a:lnTo>
                <a:lnTo>
                  <a:pt x="4957" y="2680"/>
                </a:lnTo>
                <a:lnTo>
                  <a:pt x="4957" y="2546"/>
                </a:lnTo>
                <a:close/>
                <a:moveTo>
                  <a:pt x="4957" y="2705"/>
                </a:moveTo>
                <a:lnTo>
                  <a:pt x="5128" y="2705"/>
                </a:lnTo>
                <a:lnTo>
                  <a:pt x="5128" y="2839"/>
                </a:lnTo>
                <a:lnTo>
                  <a:pt x="4957" y="2839"/>
                </a:lnTo>
                <a:lnTo>
                  <a:pt x="4957" y="2705"/>
                </a:lnTo>
                <a:close/>
                <a:moveTo>
                  <a:pt x="4957" y="2876"/>
                </a:moveTo>
                <a:lnTo>
                  <a:pt x="5128" y="2876"/>
                </a:lnTo>
                <a:lnTo>
                  <a:pt x="5128" y="3023"/>
                </a:lnTo>
                <a:lnTo>
                  <a:pt x="5153" y="3023"/>
                </a:lnTo>
                <a:lnTo>
                  <a:pt x="5153" y="3023"/>
                </a:lnTo>
                <a:lnTo>
                  <a:pt x="4969" y="3023"/>
                </a:lnTo>
                <a:lnTo>
                  <a:pt x="4969" y="2901"/>
                </a:lnTo>
                <a:lnTo>
                  <a:pt x="4957" y="2901"/>
                </a:lnTo>
                <a:lnTo>
                  <a:pt x="4957" y="2876"/>
                </a:lnTo>
                <a:close/>
                <a:moveTo>
                  <a:pt x="4847" y="1750"/>
                </a:moveTo>
                <a:lnTo>
                  <a:pt x="4932" y="1750"/>
                </a:lnTo>
                <a:lnTo>
                  <a:pt x="4932" y="1885"/>
                </a:lnTo>
                <a:lnTo>
                  <a:pt x="4847" y="1885"/>
                </a:lnTo>
                <a:lnTo>
                  <a:pt x="4847" y="1750"/>
                </a:lnTo>
                <a:close/>
                <a:moveTo>
                  <a:pt x="4847" y="1909"/>
                </a:moveTo>
                <a:lnTo>
                  <a:pt x="4932" y="1909"/>
                </a:lnTo>
                <a:lnTo>
                  <a:pt x="4932" y="2044"/>
                </a:lnTo>
                <a:lnTo>
                  <a:pt x="4847" y="2044"/>
                </a:lnTo>
                <a:lnTo>
                  <a:pt x="4847" y="1909"/>
                </a:lnTo>
                <a:close/>
                <a:moveTo>
                  <a:pt x="4847" y="2081"/>
                </a:moveTo>
                <a:lnTo>
                  <a:pt x="4932" y="2081"/>
                </a:lnTo>
                <a:lnTo>
                  <a:pt x="4932" y="2203"/>
                </a:lnTo>
                <a:lnTo>
                  <a:pt x="4847" y="2203"/>
                </a:lnTo>
                <a:lnTo>
                  <a:pt x="4847" y="2081"/>
                </a:lnTo>
                <a:close/>
                <a:moveTo>
                  <a:pt x="4847" y="2240"/>
                </a:moveTo>
                <a:lnTo>
                  <a:pt x="4932" y="2240"/>
                </a:lnTo>
                <a:lnTo>
                  <a:pt x="4932" y="2350"/>
                </a:lnTo>
                <a:lnTo>
                  <a:pt x="4847" y="2350"/>
                </a:lnTo>
                <a:lnTo>
                  <a:pt x="4847" y="2240"/>
                </a:lnTo>
                <a:close/>
                <a:moveTo>
                  <a:pt x="4847" y="2374"/>
                </a:moveTo>
                <a:lnTo>
                  <a:pt x="4932" y="2374"/>
                </a:lnTo>
                <a:lnTo>
                  <a:pt x="4932" y="2509"/>
                </a:lnTo>
                <a:lnTo>
                  <a:pt x="4847" y="2509"/>
                </a:lnTo>
                <a:lnTo>
                  <a:pt x="4847" y="2374"/>
                </a:lnTo>
                <a:close/>
                <a:moveTo>
                  <a:pt x="4847" y="2546"/>
                </a:moveTo>
                <a:lnTo>
                  <a:pt x="4932" y="2546"/>
                </a:lnTo>
                <a:lnTo>
                  <a:pt x="4932" y="2680"/>
                </a:lnTo>
                <a:lnTo>
                  <a:pt x="4847" y="2680"/>
                </a:lnTo>
                <a:lnTo>
                  <a:pt x="4847" y="2546"/>
                </a:lnTo>
                <a:close/>
                <a:moveTo>
                  <a:pt x="4847" y="2705"/>
                </a:moveTo>
                <a:lnTo>
                  <a:pt x="4932" y="2705"/>
                </a:lnTo>
                <a:lnTo>
                  <a:pt x="4932" y="2839"/>
                </a:lnTo>
                <a:lnTo>
                  <a:pt x="4847" y="2839"/>
                </a:lnTo>
                <a:lnTo>
                  <a:pt x="4847" y="2705"/>
                </a:lnTo>
                <a:close/>
                <a:moveTo>
                  <a:pt x="4847" y="3023"/>
                </a:moveTo>
                <a:lnTo>
                  <a:pt x="4847" y="3023"/>
                </a:lnTo>
                <a:lnTo>
                  <a:pt x="4847" y="2876"/>
                </a:lnTo>
                <a:lnTo>
                  <a:pt x="4932" y="2876"/>
                </a:lnTo>
                <a:lnTo>
                  <a:pt x="4932" y="3023"/>
                </a:lnTo>
                <a:lnTo>
                  <a:pt x="4932" y="3023"/>
                </a:lnTo>
                <a:lnTo>
                  <a:pt x="4932" y="3023"/>
                </a:lnTo>
                <a:lnTo>
                  <a:pt x="4847" y="3023"/>
                </a:lnTo>
                <a:lnTo>
                  <a:pt x="4847" y="3023"/>
                </a:lnTo>
                <a:close/>
                <a:moveTo>
                  <a:pt x="4847" y="3047"/>
                </a:moveTo>
                <a:lnTo>
                  <a:pt x="4932" y="3047"/>
                </a:lnTo>
                <a:lnTo>
                  <a:pt x="4932" y="3182"/>
                </a:lnTo>
                <a:lnTo>
                  <a:pt x="4847" y="3182"/>
                </a:lnTo>
                <a:lnTo>
                  <a:pt x="4847" y="3047"/>
                </a:lnTo>
                <a:close/>
                <a:moveTo>
                  <a:pt x="4847" y="3207"/>
                </a:moveTo>
                <a:lnTo>
                  <a:pt x="4932" y="3207"/>
                </a:lnTo>
                <a:lnTo>
                  <a:pt x="4932" y="3341"/>
                </a:lnTo>
                <a:lnTo>
                  <a:pt x="4847" y="3341"/>
                </a:lnTo>
                <a:lnTo>
                  <a:pt x="4847" y="3207"/>
                </a:lnTo>
                <a:close/>
                <a:moveTo>
                  <a:pt x="4847" y="3378"/>
                </a:moveTo>
                <a:lnTo>
                  <a:pt x="4932" y="3378"/>
                </a:lnTo>
                <a:lnTo>
                  <a:pt x="4932" y="3464"/>
                </a:lnTo>
                <a:lnTo>
                  <a:pt x="4847" y="3464"/>
                </a:lnTo>
                <a:lnTo>
                  <a:pt x="4847" y="3378"/>
                </a:lnTo>
                <a:close/>
                <a:moveTo>
                  <a:pt x="4847" y="3500"/>
                </a:moveTo>
                <a:lnTo>
                  <a:pt x="4932" y="3500"/>
                </a:lnTo>
                <a:lnTo>
                  <a:pt x="4932" y="3525"/>
                </a:lnTo>
                <a:lnTo>
                  <a:pt x="4847" y="3525"/>
                </a:lnTo>
                <a:lnTo>
                  <a:pt x="4847" y="3500"/>
                </a:lnTo>
                <a:close/>
                <a:moveTo>
                  <a:pt x="4847" y="3549"/>
                </a:moveTo>
                <a:lnTo>
                  <a:pt x="4932" y="3549"/>
                </a:lnTo>
                <a:lnTo>
                  <a:pt x="4932" y="3549"/>
                </a:lnTo>
                <a:lnTo>
                  <a:pt x="4847" y="3549"/>
                </a:lnTo>
                <a:lnTo>
                  <a:pt x="4847" y="3549"/>
                </a:lnTo>
                <a:close/>
                <a:moveTo>
                  <a:pt x="4847" y="3586"/>
                </a:moveTo>
                <a:lnTo>
                  <a:pt x="4932" y="3586"/>
                </a:lnTo>
                <a:lnTo>
                  <a:pt x="4932" y="3659"/>
                </a:lnTo>
                <a:lnTo>
                  <a:pt x="4847" y="3659"/>
                </a:lnTo>
                <a:lnTo>
                  <a:pt x="4847" y="3586"/>
                </a:lnTo>
                <a:close/>
                <a:moveTo>
                  <a:pt x="4847" y="3708"/>
                </a:moveTo>
                <a:lnTo>
                  <a:pt x="4932" y="3708"/>
                </a:lnTo>
                <a:lnTo>
                  <a:pt x="4932" y="3745"/>
                </a:lnTo>
                <a:lnTo>
                  <a:pt x="4847" y="3745"/>
                </a:lnTo>
                <a:lnTo>
                  <a:pt x="4847" y="3708"/>
                </a:lnTo>
                <a:close/>
                <a:moveTo>
                  <a:pt x="4932" y="3782"/>
                </a:moveTo>
                <a:lnTo>
                  <a:pt x="4932" y="3818"/>
                </a:lnTo>
                <a:lnTo>
                  <a:pt x="4847" y="3818"/>
                </a:lnTo>
                <a:lnTo>
                  <a:pt x="4847" y="3782"/>
                </a:lnTo>
                <a:lnTo>
                  <a:pt x="4932" y="3782"/>
                </a:lnTo>
                <a:close/>
                <a:moveTo>
                  <a:pt x="4810" y="3549"/>
                </a:moveTo>
                <a:lnTo>
                  <a:pt x="4810" y="3549"/>
                </a:lnTo>
                <a:lnTo>
                  <a:pt x="4749" y="3549"/>
                </a:lnTo>
                <a:lnTo>
                  <a:pt x="4749" y="3549"/>
                </a:lnTo>
                <a:lnTo>
                  <a:pt x="4810" y="3549"/>
                </a:lnTo>
                <a:close/>
                <a:moveTo>
                  <a:pt x="4749" y="3525"/>
                </a:moveTo>
                <a:lnTo>
                  <a:pt x="4749" y="3500"/>
                </a:lnTo>
                <a:lnTo>
                  <a:pt x="4810" y="3500"/>
                </a:lnTo>
                <a:lnTo>
                  <a:pt x="4810" y="3525"/>
                </a:lnTo>
                <a:lnTo>
                  <a:pt x="4749" y="3525"/>
                </a:lnTo>
                <a:close/>
                <a:moveTo>
                  <a:pt x="4810" y="3586"/>
                </a:moveTo>
                <a:lnTo>
                  <a:pt x="4810" y="3659"/>
                </a:lnTo>
                <a:lnTo>
                  <a:pt x="4749" y="3659"/>
                </a:lnTo>
                <a:lnTo>
                  <a:pt x="4749" y="3586"/>
                </a:lnTo>
                <a:lnTo>
                  <a:pt x="4810" y="3586"/>
                </a:lnTo>
                <a:close/>
                <a:moveTo>
                  <a:pt x="4810" y="3708"/>
                </a:moveTo>
                <a:lnTo>
                  <a:pt x="4810" y="3745"/>
                </a:lnTo>
                <a:lnTo>
                  <a:pt x="4749" y="3745"/>
                </a:lnTo>
                <a:lnTo>
                  <a:pt x="4749" y="3708"/>
                </a:lnTo>
                <a:lnTo>
                  <a:pt x="4810" y="3708"/>
                </a:lnTo>
                <a:close/>
                <a:moveTo>
                  <a:pt x="4810" y="3782"/>
                </a:moveTo>
                <a:lnTo>
                  <a:pt x="4810" y="3818"/>
                </a:lnTo>
                <a:lnTo>
                  <a:pt x="4749" y="3818"/>
                </a:lnTo>
                <a:lnTo>
                  <a:pt x="4749" y="3782"/>
                </a:lnTo>
                <a:lnTo>
                  <a:pt x="4810" y="3782"/>
                </a:lnTo>
                <a:close/>
                <a:moveTo>
                  <a:pt x="4638" y="1750"/>
                </a:moveTo>
                <a:lnTo>
                  <a:pt x="4810" y="1750"/>
                </a:lnTo>
                <a:lnTo>
                  <a:pt x="4810" y="1885"/>
                </a:lnTo>
                <a:lnTo>
                  <a:pt x="4638" y="1885"/>
                </a:lnTo>
                <a:lnTo>
                  <a:pt x="4638" y="1750"/>
                </a:lnTo>
                <a:close/>
                <a:moveTo>
                  <a:pt x="4638" y="1909"/>
                </a:moveTo>
                <a:lnTo>
                  <a:pt x="4810" y="1909"/>
                </a:lnTo>
                <a:lnTo>
                  <a:pt x="4810" y="2044"/>
                </a:lnTo>
                <a:lnTo>
                  <a:pt x="4638" y="2044"/>
                </a:lnTo>
                <a:lnTo>
                  <a:pt x="4638" y="1909"/>
                </a:lnTo>
                <a:close/>
                <a:moveTo>
                  <a:pt x="4638" y="2081"/>
                </a:moveTo>
                <a:lnTo>
                  <a:pt x="4810" y="2081"/>
                </a:lnTo>
                <a:lnTo>
                  <a:pt x="4810" y="2203"/>
                </a:lnTo>
                <a:lnTo>
                  <a:pt x="4638" y="2203"/>
                </a:lnTo>
                <a:lnTo>
                  <a:pt x="4638" y="2081"/>
                </a:lnTo>
                <a:close/>
                <a:moveTo>
                  <a:pt x="4638" y="2240"/>
                </a:moveTo>
                <a:lnTo>
                  <a:pt x="4810" y="2240"/>
                </a:lnTo>
                <a:lnTo>
                  <a:pt x="4810" y="2350"/>
                </a:lnTo>
                <a:lnTo>
                  <a:pt x="4638" y="2350"/>
                </a:lnTo>
                <a:lnTo>
                  <a:pt x="4638" y="2240"/>
                </a:lnTo>
                <a:close/>
                <a:moveTo>
                  <a:pt x="4638" y="2374"/>
                </a:moveTo>
                <a:lnTo>
                  <a:pt x="4810" y="2374"/>
                </a:lnTo>
                <a:lnTo>
                  <a:pt x="4810" y="2509"/>
                </a:lnTo>
                <a:lnTo>
                  <a:pt x="4638" y="2509"/>
                </a:lnTo>
                <a:lnTo>
                  <a:pt x="4638" y="2374"/>
                </a:lnTo>
                <a:close/>
                <a:moveTo>
                  <a:pt x="4638" y="2546"/>
                </a:moveTo>
                <a:lnTo>
                  <a:pt x="4810" y="2546"/>
                </a:lnTo>
                <a:lnTo>
                  <a:pt x="4810" y="2680"/>
                </a:lnTo>
                <a:lnTo>
                  <a:pt x="4638" y="2680"/>
                </a:lnTo>
                <a:lnTo>
                  <a:pt x="4638" y="2546"/>
                </a:lnTo>
                <a:close/>
                <a:moveTo>
                  <a:pt x="4638" y="2705"/>
                </a:moveTo>
                <a:lnTo>
                  <a:pt x="4810" y="2705"/>
                </a:lnTo>
                <a:lnTo>
                  <a:pt x="4810" y="2839"/>
                </a:lnTo>
                <a:lnTo>
                  <a:pt x="4638" y="2839"/>
                </a:lnTo>
                <a:lnTo>
                  <a:pt x="4638" y="2705"/>
                </a:lnTo>
                <a:close/>
                <a:moveTo>
                  <a:pt x="4626" y="3023"/>
                </a:moveTo>
                <a:lnTo>
                  <a:pt x="4638" y="3023"/>
                </a:lnTo>
                <a:lnTo>
                  <a:pt x="4638" y="2876"/>
                </a:lnTo>
                <a:lnTo>
                  <a:pt x="4810" y="2876"/>
                </a:lnTo>
                <a:lnTo>
                  <a:pt x="4810" y="2962"/>
                </a:lnTo>
                <a:lnTo>
                  <a:pt x="4810" y="2962"/>
                </a:lnTo>
                <a:lnTo>
                  <a:pt x="4810" y="3023"/>
                </a:lnTo>
                <a:lnTo>
                  <a:pt x="4626" y="3023"/>
                </a:lnTo>
                <a:lnTo>
                  <a:pt x="4626" y="3023"/>
                </a:lnTo>
                <a:close/>
                <a:moveTo>
                  <a:pt x="4626" y="3047"/>
                </a:moveTo>
                <a:lnTo>
                  <a:pt x="4810" y="3047"/>
                </a:lnTo>
                <a:lnTo>
                  <a:pt x="4810" y="3182"/>
                </a:lnTo>
                <a:lnTo>
                  <a:pt x="4626" y="3182"/>
                </a:lnTo>
                <a:lnTo>
                  <a:pt x="4626" y="3047"/>
                </a:lnTo>
                <a:close/>
                <a:moveTo>
                  <a:pt x="4626" y="3207"/>
                </a:moveTo>
                <a:lnTo>
                  <a:pt x="4810" y="3207"/>
                </a:lnTo>
                <a:lnTo>
                  <a:pt x="4810" y="3341"/>
                </a:lnTo>
                <a:lnTo>
                  <a:pt x="4626" y="3341"/>
                </a:lnTo>
                <a:lnTo>
                  <a:pt x="4626" y="3207"/>
                </a:lnTo>
                <a:close/>
                <a:moveTo>
                  <a:pt x="4626" y="3378"/>
                </a:moveTo>
                <a:lnTo>
                  <a:pt x="4810" y="3378"/>
                </a:lnTo>
                <a:lnTo>
                  <a:pt x="4810" y="3464"/>
                </a:lnTo>
                <a:lnTo>
                  <a:pt x="4749" y="3464"/>
                </a:lnTo>
                <a:lnTo>
                  <a:pt x="4749" y="3427"/>
                </a:lnTo>
                <a:lnTo>
                  <a:pt x="4712" y="3427"/>
                </a:lnTo>
                <a:lnTo>
                  <a:pt x="4712" y="3464"/>
                </a:lnTo>
                <a:lnTo>
                  <a:pt x="4626" y="3464"/>
                </a:lnTo>
                <a:lnTo>
                  <a:pt x="4626" y="3378"/>
                </a:lnTo>
                <a:close/>
                <a:moveTo>
                  <a:pt x="4626" y="3500"/>
                </a:moveTo>
                <a:lnTo>
                  <a:pt x="4712" y="3500"/>
                </a:lnTo>
                <a:lnTo>
                  <a:pt x="4712" y="3525"/>
                </a:lnTo>
                <a:lnTo>
                  <a:pt x="4626" y="3525"/>
                </a:lnTo>
                <a:lnTo>
                  <a:pt x="4626" y="3500"/>
                </a:lnTo>
                <a:close/>
                <a:moveTo>
                  <a:pt x="4626" y="3549"/>
                </a:moveTo>
                <a:lnTo>
                  <a:pt x="4712" y="3549"/>
                </a:lnTo>
                <a:lnTo>
                  <a:pt x="4712" y="3549"/>
                </a:lnTo>
                <a:lnTo>
                  <a:pt x="4626" y="3549"/>
                </a:lnTo>
                <a:lnTo>
                  <a:pt x="4626" y="3549"/>
                </a:lnTo>
                <a:close/>
                <a:moveTo>
                  <a:pt x="4626" y="3586"/>
                </a:moveTo>
                <a:lnTo>
                  <a:pt x="4712" y="3586"/>
                </a:lnTo>
                <a:lnTo>
                  <a:pt x="4712" y="3659"/>
                </a:lnTo>
                <a:lnTo>
                  <a:pt x="4626" y="3659"/>
                </a:lnTo>
                <a:lnTo>
                  <a:pt x="4626" y="3586"/>
                </a:lnTo>
                <a:close/>
                <a:moveTo>
                  <a:pt x="4626" y="3708"/>
                </a:moveTo>
                <a:lnTo>
                  <a:pt x="4712" y="3708"/>
                </a:lnTo>
                <a:lnTo>
                  <a:pt x="4712" y="3745"/>
                </a:lnTo>
                <a:lnTo>
                  <a:pt x="4626" y="3745"/>
                </a:lnTo>
                <a:lnTo>
                  <a:pt x="4626" y="3708"/>
                </a:lnTo>
                <a:close/>
                <a:moveTo>
                  <a:pt x="4712" y="3782"/>
                </a:moveTo>
                <a:lnTo>
                  <a:pt x="4712" y="3818"/>
                </a:lnTo>
                <a:lnTo>
                  <a:pt x="4626" y="3818"/>
                </a:lnTo>
                <a:lnTo>
                  <a:pt x="4626" y="3782"/>
                </a:lnTo>
                <a:lnTo>
                  <a:pt x="4712" y="3782"/>
                </a:lnTo>
                <a:close/>
                <a:moveTo>
                  <a:pt x="4590" y="3586"/>
                </a:moveTo>
                <a:lnTo>
                  <a:pt x="4590" y="3659"/>
                </a:lnTo>
                <a:lnTo>
                  <a:pt x="4565" y="3659"/>
                </a:lnTo>
                <a:lnTo>
                  <a:pt x="4565" y="3586"/>
                </a:lnTo>
                <a:lnTo>
                  <a:pt x="4590" y="3586"/>
                </a:lnTo>
                <a:close/>
                <a:moveTo>
                  <a:pt x="4565" y="3549"/>
                </a:moveTo>
                <a:lnTo>
                  <a:pt x="4565" y="3549"/>
                </a:lnTo>
                <a:lnTo>
                  <a:pt x="4590" y="3549"/>
                </a:lnTo>
                <a:lnTo>
                  <a:pt x="4590" y="3549"/>
                </a:lnTo>
                <a:lnTo>
                  <a:pt x="4565" y="3549"/>
                </a:lnTo>
                <a:close/>
                <a:moveTo>
                  <a:pt x="4590" y="3708"/>
                </a:moveTo>
                <a:lnTo>
                  <a:pt x="4590" y="3745"/>
                </a:lnTo>
                <a:lnTo>
                  <a:pt x="4565" y="3745"/>
                </a:lnTo>
                <a:lnTo>
                  <a:pt x="4565" y="3708"/>
                </a:lnTo>
                <a:lnTo>
                  <a:pt x="4590" y="3708"/>
                </a:lnTo>
                <a:close/>
                <a:moveTo>
                  <a:pt x="4590" y="3782"/>
                </a:moveTo>
                <a:lnTo>
                  <a:pt x="4590" y="3818"/>
                </a:lnTo>
                <a:lnTo>
                  <a:pt x="4565" y="3818"/>
                </a:lnTo>
                <a:lnTo>
                  <a:pt x="4565" y="3782"/>
                </a:lnTo>
                <a:lnTo>
                  <a:pt x="4590" y="3782"/>
                </a:lnTo>
                <a:close/>
                <a:moveTo>
                  <a:pt x="4528" y="1750"/>
                </a:moveTo>
                <a:lnTo>
                  <a:pt x="4614" y="1750"/>
                </a:lnTo>
                <a:lnTo>
                  <a:pt x="4614" y="1885"/>
                </a:lnTo>
                <a:lnTo>
                  <a:pt x="4528" y="1885"/>
                </a:lnTo>
                <a:lnTo>
                  <a:pt x="4528" y="1750"/>
                </a:lnTo>
                <a:close/>
                <a:moveTo>
                  <a:pt x="4528" y="1909"/>
                </a:moveTo>
                <a:lnTo>
                  <a:pt x="4614" y="1909"/>
                </a:lnTo>
                <a:lnTo>
                  <a:pt x="4614" y="2044"/>
                </a:lnTo>
                <a:lnTo>
                  <a:pt x="4528" y="2044"/>
                </a:lnTo>
                <a:lnTo>
                  <a:pt x="4528" y="1909"/>
                </a:lnTo>
                <a:close/>
                <a:moveTo>
                  <a:pt x="4528" y="2081"/>
                </a:moveTo>
                <a:lnTo>
                  <a:pt x="4614" y="2081"/>
                </a:lnTo>
                <a:lnTo>
                  <a:pt x="4614" y="2203"/>
                </a:lnTo>
                <a:lnTo>
                  <a:pt x="4528" y="2203"/>
                </a:lnTo>
                <a:lnTo>
                  <a:pt x="4528" y="2081"/>
                </a:lnTo>
                <a:close/>
                <a:moveTo>
                  <a:pt x="4528" y="2240"/>
                </a:moveTo>
                <a:lnTo>
                  <a:pt x="4614" y="2240"/>
                </a:lnTo>
                <a:lnTo>
                  <a:pt x="4614" y="2350"/>
                </a:lnTo>
                <a:lnTo>
                  <a:pt x="4528" y="2350"/>
                </a:lnTo>
                <a:lnTo>
                  <a:pt x="4528" y="2240"/>
                </a:lnTo>
                <a:close/>
                <a:moveTo>
                  <a:pt x="4528" y="2374"/>
                </a:moveTo>
                <a:lnTo>
                  <a:pt x="4614" y="2374"/>
                </a:lnTo>
                <a:lnTo>
                  <a:pt x="4614" y="2509"/>
                </a:lnTo>
                <a:lnTo>
                  <a:pt x="4528" y="2509"/>
                </a:lnTo>
                <a:lnTo>
                  <a:pt x="4528" y="2374"/>
                </a:lnTo>
                <a:close/>
                <a:moveTo>
                  <a:pt x="4528" y="2546"/>
                </a:moveTo>
                <a:lnTo>
                  <a:pt x="4614" y="2546"/>
                </a:lnTo>
                <a:lnTo>
                  <a:pt x="4614" y="2680"/>
                </a:lnTo>
                <a:lnTo>
                  <a:pt x="4528" y="2680"/>
                </a:lnTo>
                <a:lnTo>
                  <a:pt x="4528" y="2546"/>
                </a:lnTo>
                <a:close/>
                <a:moveTo>
                  <a:pt x="4528" y="2839"/>
                </a:moveTo>
                <a:lnTo>
                  <a:pt x="4528" y="2705"/>
                </a:lnTo>
                <a:lnTo>
                  <a:pt x="4614" y="2705"/>
                </a:lnTo>
                <a:lnTo>
                  <a:pt x="4614" y="2839"/>
                </a:lnTo>
                <a:lnTo>
                  <a:pt x="4528" y="2839"/>
                </a:lnTo>
                <a:close/>
                <a:moveTo>
                  <a:pt x="4504" y="3207"/>
                </a:moveTo>
                <a:lnTo>
                  <a:pt x="4590" y="3207"/>
                </a:lnTo>
                <a:lnTo>
                  <a:pt x="4590" y="3341"/>
                </a:lnTo>
                <a:lnTo>
                  <a:pt x="4504" y="3341"/>
                </a:lnTo>
                <a:lnTo>
                  <a:pt x="4504" y="3207"/>
                </a:lnTo>
                <a:close/>
                <a:moveTo>
                  <a:pt x="4504" y="3378"/>
                </a:moveTo>
                <a:lnTo>
                  <a:pt x="4590" y="3378"/>
                </a:lnTo>
                <a:lnTo>
                  <a:pt x="4590" y="3464"/>
                </a:lnTo>
                <a:lnTo>
                  <a:pt x="4504" y="3464"/>
                </a:lnTo>
                <a:lnTo>
                  <a:pt x="4504" y="3378"/>
                </a:lnTo>
                <a:close/>
                <a:moveTo>
                  <a:pt x="4504" y="3500"/>
                </a:moveTo>
                <a:lnTo>
                  <a:pt x="4590" y="3500"/>
                </a:lnTo>
                <a:lnTo>
                  <a:pt x="4590" y="3525"/>
                </a:lnTo>
                <a:lnTo>
                  <a:pt x="4565" y="3525"/>
                </a:lnTo>
                <a:lnTo>
                  <a:pt x="4565" y="3500"/>
                </a:lnTo>
                <a:lnTo>
                  <a:pt x="4541" y="3500"/>
                </a:lnTo>
                <a:lnTo>
                  <a:pt x="4541" y="3525"/>
                </a:lnTo>
                <a:lnTo>
                  <a:pt x="4504" y="3525"/>
                </a:lnTo>
                <a:lnTo>
                  <a:pt x="4504" y="3500"/>
                </a:lnTo>
                <a:close/>
                <a:moveTo>
                  <a:pt x="4504" y="3549"/>
                </a:moveTo>
                <a:lnTo>
                  <a:pt x="4541" y="3549"/>
                </a:lnTo>
                <a:lnTo>
                  <a:pt x="4541" y="3549"/>
                </a:lnTo>
                <a:lnTo>
                  <a:pt x="4504" y="3549"/>
                </a:lnTo>
                <a:lnTo>
                  <a:pt x="4504" y="3549"/>
                </a:lnTo>
                <a:close/>
                <a:moveTo>
                  <a:pt x="4504" y="3586"/>
                </a:moveTo>
                <a:lnTo>
                  <a:pt x="4541" y="3586"/>
                </a:lnTo>
                <a:lnTo>
                  <a:pt x="4541" y="3659"/>
                </a:lnTo>
                <a:lnTo>
                  <a:pt x="4504" y="3659"/>
                </a:lnTo>
                <a:lnTo>
                  <a:pt x="4504" y="3586"/>
                </a:lnTo>
                <a:close/>
                <a:moveTo>
                  <a:pt x="4504" y="3708"/>
                </a:moveTo>
                <a:lnTo>
                  <a:pt x="4541" y="3708"/>
                </a:lnTo>
                <a:lnTo>
                  <a:pt x="4541" y="3745"/>
                </a:lnTo>
                <a:lnTo>
                  <a:pt x="4504" y="3745"/>
                </a:lnTo>
                <a:lnTo>
                  <a:pt x="4504" y="3708"/>
                </a:lnTo>
                <a:close/>
                <a:moveTo>
                  <a:pt x="4504" y="3782"/>
                </a:moveTo>
                <a:lnTo>
                  <a:pt x="4541" y="3782"/>
                </a:lnTo>
                <a:lnTo>
                  <a:pt x="4541" y="3818"/>
                </a:lnTo>
                <a:lnTo>
                  <a:pt x="4504" y="3818"/>
                </a:lnTo>
                <a:lnTo>
                  <a:pt x="4504" y="3782"/>
                </a:lnTo>
                <a:close/>
                <a:moveTo>
                  <a:pt x="3990" y="3366"/>
                </a:moveTo>
                <a:lnTo>
                  <a:pt x="4100" y="3255"/>
                </a:lnTo>
                <a:lnTo>
                  <a:pt x="4210" y="3366"/>
                </a:lnTo>
                <a:lnTo>
                  <a:pt x="3990" y="3366"/>
                </a:lnTo>
                <a:close/>
                <a:moveTo>
                  <a:pt x="4210" y="3439"/>
                </a:moveTo>
                <a:lnTo>
                  <a:pt x="4100" y="3537"/>
                </a:lnTo>
                <a:lnTo>
                  <a:pt x="4002" y="3439"/>
                </a:lnTo>
                <a:lnTo>
                  <a:pt x="4210" y="3439"/>
                </a:lnTo>
                <a:close/>
                <a:moveTo>
                  <a:pt x="4002" y="3072"/>
                </a:moveTo>
                <a:lnTo>
                  <a:pt x="4210" y="3072"/>
                </a:lnTo>
                <a:lnTo>
                  <a:pt x="4100" y="3182"/>
                </a:lnTo>
                <a:lnTo>
                  <a:pt x="4002" y="3072"/>
                </a:lnTo>
                <a:close/>
                <a:moveTo>
                  <a:pt x="4137" y="3219"/>
                </a:moveTo>
                <a:lnTo>
                  <a:pt x="4247" y="3109"/>
                </a:lnTo>
                <a:lnTo>
                  <a:pt x="4247" y="3329"/>
                </a:lnTo>
                <a:lnTo>
                  <a:pt x="4137" y="3219"/>
                </a:lnTo>
                <a:close/>
                <a:moveTo>
                  <a:pt x="4210" y="2998"/>
                </a:moveTo>
                <a:lnTo>
                  <a:pt x="3990" y="2998"/>
                </a:lnTo>
                <a:lnTo>
                  <a:pt x="4100" y="2888"/>
                </a:lnTo>
                <a:lnTo>
                  <a:pt x="4210" y="2998"/>
                </a:lnTo>
                <a:close/>
                <a:moveTo>
                  <a:pt x="4137" y="2852"/>
                </a:moveTo>
                <a:lnTo>
                  <a:pt x="4247" y="2741"/>
                </a:lnTo>
                <a:lnTo>
                  <a:pt x="4247" y="2962"/>
                </a:lnTo>
                <a:lnTo>
                  <a:pt x="4137" y="2852"/>
                </a:lnTo>
                <a:close/>
                <a:moveTo>
                  <a:pt x="3941" y="2974"/>
                </a:moveTo>
                <a:lnTo>
                  <a:pt x="3941" y="2729"/>
                </a:lnTo>
                <a:lnTo>
                  <a:pt x="4063" y="2852"/>
                </a:lnTo>
                <a:lnTo>
                  <a:pt x="3941" y="2974"/>
                </a:lnTo>
                <a:close/>
                <a:moveTo>
                  <a:pt x="4063" y="3219"/>
                </a:moveTo>
                <a:lnTo>
                  <a:pt x="3941" y="3329"/>
                </a:lnTo>
                <a:lnTo>
                  <a:pt x="3941" y="3096"/>
                </a:lnTo>
                <a:lnTo>
                  <a:pt x="4063" y="3219"/>
                </a:lnTo>
                <a:close/>
                <a:moveTo>
                  <a:pt x="4063" y="3574"/>
                </a:moveTo>
                <a:lnTo>
                  <a:pt x="3941" y="3696"/>
                </a:lnTo>
                <a:lnTo>
                  <a:pt x="3941" y="3464"/>
                </a:lnTo>
                <a:lnTo>
                  <a:pt x="4063" y="3574"/>
                </a:lnTo>
                <a:close/>
                <a:moveTo>
                  <a:pt x="4100" y="3610"/>
                </a:moveTo>
                <a:lnTo>
                  <a:pt x="4210" y="3721"/>
                </a:lnTo>
                <a:lnTo>
                  <a:pt x="3990" y="3721"/>
                </a:lnTo>
                <a:lnTo>
                  <a:pt x="4100" y="3610"/>
                </a:lnTo>
                <a:close/>
                <a:moveTo>
                  <a:pt x="4137" y="3574"/>
                </a:moveTo>
                <a:lnTo>
                  <a:pt x="4247" y="3464"/>
                </a:lnTo>
                <a:lnTo>
                  <a:pt x="4247" y="3696"/>
                </a:lnTo>
                <a:lnTo>
                  <a:pt x="4137" y="3574"/>
                </a:lnTo>
                <a:close/>
                <a:moveTo>
                  <a:pt x="4137" y="1297"/>
                </a:moveTo>
                <a:lnTo>
                  <a:pt x="4271" y="1297"/>
                </a:lnTo>
                <a:lnTo>
                  <a:pt x="4271" y="1358"/>
                </a:lnTo>
                <a:lnTo>
                  <a:pt x="4137" y="1358"/>
                </a:lnTo>
                <a:lnTo>
                  <a:pt x="4137" y="1297"/>
                </a:lnTo>
                <a:close/>
                <a:moveTo>
                  <a:pt x="4137" y="1395"/>
                </a:moveTo>
                <a:lnTo>
                  <a:pt x="4271" y="1395"/>
                </a:lnTo>
                <a:lnTo>
                  <a:pt x="4271" y="1456"/>
                </a:lnTo>
                <a:lnTo>
                  <a:pt x="4137" y="1456"/>
                </a:lnTo>
                <a:lnTo>
                  <a:pt x="4137" y="1395"/>
                </a:lnTo>
                <a:close/>
                <a:moveTo>
                  <a:pt x="4137" y="1481"/>
                </a:moveTo>
                <a:lnTo>
                  <a:pt x="4271" y="1481"/>
                </a:lnTo>
                <a:lnTo>
                  <a:pt x="4271" y="1554"/>
                </a:lnTo>
                <a:lnTo>
                  <a:pt x="4137" y="1554"/>
                </a:lnTo>
                <a:lnTo>
                  <a:pt x="4137" y="1481"/>
                </a:lnTo>
                <a:close/>
                <a:moveTo>
                  <a:pt x="4137" y="1579"/>
                </a:moveTo>
                <a:lnTo>
                  <a:pt x="4271" y="1579"/>
                </a:lnTo>
                <a:lnTo>
                  <a:pt x="4271" y="1640"/>
                </a:lnTo>
                <a:lnTo>
                  <a:pt x="4137" y="1640"/>
                </a:lnTo>
                <a:lnTo>
                  <a:pt x="4137" y="1579"/>
                </a:lnTo>
                <a:close/>
                <a:moveTo>
                  <a:pt x="4137" y="1677"/>
                </a:moveTo>
                <a:lnTo>
                  <a:pt x="4271" y="1677"/>
                </a:lnTo>
                <a:lnTo>
                  <a:pt x="4271" y="1738"/>
                </a:lnTo>
                <a:lnTo>
                  <a:pt x="4137" y="1738"/>
                </a:lnTo>
                <a:lnTo>
                  <a:pt x="4137" y="1677"/>
                </a:lnTo>
                <a:close/>
                <a:moveTo>
                  <a:pt x="4137" y="1775"/>
                </a:moveTo>
                <a:lnTo>
                  <a:pt x="4271" y="1775"/>
                </a:lnTo>
                <a:lnTo>
                  <a:pt x="4271" y="1836"/>
                </a:lnTo>
                <a:lnTo>
                  <a:pt x="4137" y="1836"/>
                </a:lnTo>
                <a:lnTo>
                  <a:pt x="4137" y="1775"/>
                </a:lnTo>
                <a:close/>
                <a:moveTo>
                  <a:pt x="4137" y="1872"/>
                </a:moveTo>
                <a:lnTo>
                  <a:pt x="4271" y="1872"/>
                </a:lnTo>
                <a:lnTo>
                  <a:pt x="4271" y="1934"/>
                </a:lnTo>
                <a:lnTo>
                  <a:pt x="4137" y="1934"/>
                </a:lnTo>
                <a:lnTo>
                  <a:pt x="4137" y="1872"/>
                </a:lnTo>
                <a:close/>
                <a:moveTo>
                  <a:pt x="4137" y="1970"/>
                </a:moveTo>
                <a:lnTo>
                  <a:pt x="4271" y="1970"/>
                </a:lnTo>
                <a:lnTo>
                  <a:pt x="4271" y="2032"/>
                </a:lnTo>
                <a:lnTo>
                  <a:pt x="4137" y="2032"/>
                </a:lnTo>
                <a:lnTo>
                  <a:pt x="4137" y="1970"/>
                </a:lnTo>
                <a:close/>
                <a:moveTo>
                  <a:pt x="4137" y="2056"/>
                </a:moveTo>
                <a:lnTo>
                  <a:pt x="4271" y="2056"/>
                </a:lnTo>
                <a:lnTo>
                  <a:pt x="4271" y="2117"/>
                </a:lnTo>
                <a:lnTo>
                  <a:pt x="4137" y="2117"/>
                </a:lnTo>
                <a:lnTo>
                  <a:pt x="4137" y="2056"/>
                </a:lnTo>
                <a:close/>
                <a:moveTo>
                  <a:pt x="4137" y="2154"/>
                </a:moveTo>
                <a:lnTo>
                  <a:pt x="4271" y="2154"/>
                </a:lnTo>
                <a:lnTo>
                  <a:pt x="4271" y="2215"/>
                </a:lnTo>
                <a:lnTo>
                  <a:pt x="4137" y="2215"/>
                </a:lnTo>
                <a:lnTo>
                  <a:pt x="4137" y="2154"/>
                </a:lnTo>
                <a:close/>
                <a:moveTo>
                  <a:pt x="4210" y="2717"/>
                </a:moveTo>
                <a:lnTo>
                  <a:pt x="4100" y="2815"/>
                </a:lnTo>
                <a:lnTo>
                  <a:pt x="4002" y="2717"/>
                </a:lnTo>
                <a:lnTo>
                  <a:pt x="4210" y="2717"/>
                </a:lnTo>
                <a:close/>
                <a:moveTo>
                  <a:pt x="3904" y="1297"/>
                </a:moveTo>
                <a:lnTo>
                  <a:pt x="4039" y="1297"/>
                </a:lnTo>
                <a:lnTo>
                  <a:pt x="4039" y="1358"/>
                </a:lnTo>
                <a:lnTo>
                  <a:pt x="3904" y="1358"/>
                </a:lnTo>
                <a:lnTo>
                  <a:pt x="3904" y="1297"/>
                </a:lnTo>
                <a:close/>
                <a:moveTo>
                  <a:pt x="3904" y="1395"/>
                </a:moveTo>
                <a:lnTo>
                  <a:pt x="4039" y="1395"/>
                </a:lnTo>
                <a:lnTo>
                  <a:pt x="4039" y="1456"/>
                </a:lnTo>
                <a:lnTo>
                  <a:pt x="3904" y="1456"/>
                </a:lnTo>
                <a:lnTo>
                  <a:pt x="3904" y="1395"/>
                </a:lnTo>
                <a:close/>
                <a:moveTo>
                  <a:pt x="3904" y="1481"/>
                </a:moveTo>
                <a:lnTo>
                  <a:pt x="4039" y="1481"/>
                </a:lnTo>
                <a:lnTo>
                  <a:pt x="4039" y="1554"/>
                </a:lnTo>
                <a:lnTo>
                  <a:pt x="3904" y="1554"/>
                </a:lnTo>
                <a:lnTo>
                  <a:pt x="3904" y="1481"/>
                </a:lnTo>
                <a:close/>
                <a:moveTo>
                  <a:pt x="3904" y="1579"/>
                </a:moveTo>
                <a:lnTo>
                  <a:pt x="4039" y="1579"/>
                </a:lnTo>
                <a:lnTo>
                  <a:pt x="4039" y="1640"/>
                </a:lnTo>
                <a:lnTo>
                  <a:pt x="3904" y="1640"/>
                </a:lnTo>
                <a:lnTo>
                  <a:pt x="3904" y="1579"/>
                </a:lnTo>
                <a:close/>
                <a:moveTo>
                  <a:pt x="3904" y="1677"/>
                </a:moveTo>
                <a:lnTo>
                  <a:pt x="4039" y="1677"/>
                </a:lnTo>
                <a:lnTo>
                  <a:pt x="4039" y="1738"/>
                </a:lnTo>
                <a:lnTo>
                  <a:pt x="3904" y="1738"/>
                </a:lnTo>
                <a:lnTo>
                  <a:pt x="3904" y="1677"/>
                </a:lnTo>
                <a:close/>
                <a:moveTo>
                  <a:pt x="3904" y="1775"/>
                </a:moveTo>
                <a:lnTo>
                  <a:pt x="4039" y="1775"/>
                </a:lnTo>
                <a:lnTo>
                  <a:pt x="4039" y="1836"/>
                </a:lnTo>
                <a:lnTo>
                  <a:pt x="3904" y="1836"/>
                </a:lnTo>
                <a:lnTo>
                  <a:pt x="3904" y="1775"/>
                </a:lnTo>
                <a:close/>
                <a:moveTo>
                  <a:pt x="3904" y="1872"/>
                </a:moveTo>
                <a:lnTo>
                  <a:pt x="4039" y="1872"/>
                </a:lnTo>
                <a:lnTo>
                  <a:pt x="4039" y="1934"/>
                </a:lnTo>
                <a:lnTo>
                  <a:pt x="3904" y="1934"/>
                </a:lnTo>
                <a:lnTo>
                  <a:pt x="3904" y="1872"/>
                </a:lnTo>
                <a:close/>
                <a:moveTo>
                  <a:pt x="3904" y="1970"/>
                </a:moveTo>
                <a:lnTo>
                  <a:pt x="4039" y="1970"/>
                </a:lnTo>
                <a:lnTo>
                  <a:pt x="4039" y="2032"/>
                </a:lnTo>
                <a:lnTo>
                  <a:pt x="3904" y="2032"/>
                </a:lnTo>
                <a:lnTo>
                  <a:pt x="3904" y="1970"/>
                </a:lnTo>
                <a:close/>
                <a:moveTo>
                  <a:pt x="3904" y="2056"/>
                </a:moveTo>
                <a:lnTo>
                  <a:pt x="4039" y="2056"/>
                </a:lnTo>
                <a:lnTo>
                  <a:pt x="4039" y="2117"/>
                </a:lnTo>
                <a:lnTo>
                  <a:pt x="3904" y="2117"/>
                </a:lnTo>
                <a:lnTo>
                  <a:pt x="3904" y="2056"/>
                </a:lnTo>
                <a:close/>
                <a:moveTo>
                  <a:pt x="3904" y="2154"/>
                </a:moveTo>
                <a:lnTo>
                  <a:pt x="4039" y="2154"/>
                </a:lnTo>
                <a:lnTo>
                  <a:pt x="4039" y="2215"/>
                </a:lnTo>
                <a:lnTo>
                  <a:pt x="3904" y="2215"/>
                </a:lnTo>
                <a:lnTo>
                  <a:pt x="3904" y="2154"/>
                </a:lnTo>
                <a:close/>
                <a:moveTo>
                  <a:pt x="3941" y="3806"/>
                </a:moveTo>
                <a:lnTo>
                  <a:pt x="4247" y="3806"/>
                </a:lnTo>
                <a:lnTo>
                  <a:pt x="4247" y="3818"/>
                </a:lnTo>
                <a:lnTo>
                  <a:pt x="3941" y="3818"/>
                </a:lnTo>
                <a:lnTo>
                  <a:pt x="3941" y="3806"/>
                </a:lnTo>
                <a:close/>
                <a:moveTo>
                  <a:pt x="1958" y="3329"/>
                </a:moveTo>
                <a:lnTo>
                  <a:pt x="1885" y="3415"/>
                </a:lnTo>
                <a:lnTo>
                  <a:pt x="1799" y="3329"/>
                </a:lnTo>
                <a:lnTo>
                  <a:pt x="1958" y="3329"/>
                </a:lnTo>
                <a:close/>
                <a:moveTo>
                  <a:pt x="1799" y="3280"/>
                </a:moveTo>
                <a:lnTo>
                  <a:pt x="1885" y="3194"/>
                </a:lnTo>
                <a:lnTo>
                  <a:pt x="1970" y="3280"/>
                </a:lnTo>
                <a:lnTo>
                  <a:pt x="1799" y="3280"/>
                </a:lnTo>
                <a:close/>
                <a:moveTo>
                  <a:pt x="1995" y="3353"/>
                </a:moveTo>
                <a:lnTo>
                  <a:pt x="1995" y="3525"/>
                </a:lnTo>
                <a:lnTo>
                  <a:pt x="1909" y="3439"/>
                </a:lnTo>
                <a:lnTo>
                  <a:pt x="1995" y="3353"/>
                </a:lnTo>
                <a:close/>
                <a:moveTo>
                  <a:pt x="1970" y="3549"/>
                </a:moveTo>
                <a:lnTo>
                  <a:pt x="1799" y="3549"/>
                </a:lnTo>
                <a:lnTo>
                  <a:pt x="1885" y="3464"/>
                </a:lnTo>
                <a:lnTo>
                  <a:pt x="1970" y="3549"/>
                </a:lnTo>
                <a:close/>
                <a:moveTo>
                  <a:pt x="1958" y="3610"/>
                </a:moveTo>
                <a:lnTo>
                  <a:pt x="1885" y="3684"/>
                </a:lnTo>
                <a:lnTo>
                  <a:pt x="1799" y="3610"/>
                </a:lnTo>
                <a:lnTo>
                  <a:pt x="1958" y="3610"/>
                </a:lnTo>
                <a:close/>
                <a:moveTo>
                  <a:pt x="1995" y="3635"/>
                </a:moveTo>
                <a:lnTo>
                  <a:pt x="1995" y="3806"/>
                </a:lnTo>
                <a:lnTo>
                  <a:pt x="1909" y="3721"/>
                </a:lnTo>
                <a:lnTo>
                  <a:pt x="1995" y="3635"/>
                </a:lnTo>
                <a:close/>
                <a:moveTo>
                  <a:pt x="1995" y="3243"/>
                </a:moveTo>
                <a:lnTo>
                  <a:pt x="1909" y="3158"/>
                </a:lnTo>
                <a:lnTo>
                  <a:pt x="1995" y="3072"/>
                </a:lnTo>
                <a:lnTo>
                  <a:pt x="1995" y="3243"/>
                </a:lnTo>
                <a:close/>
                <a:moveTo>
                  <a:pt x="1958" y="3060"/>
                </a:moveTo>
                <a:lnTo>
                  <a:pt x="1885" y="3133"/>
                </a:lnTo>
                <a:lnTo>
                  <a:pt x="1799" y="3060"/>
                </a:lnTo>
                <a:lnTo>
                  <a:pt x="1958" y="3060"/>
                </a:lnTo>
                <a:close/>
                <a:moveTo>
                  <a:pt x="1762" y="3072"/>
                </a:moveTo>
                <a:lnTo>
                  <a:pt x="1848" y="3158"/>
                </a:lnTo>
                <a:lnTo>
                  <a:pt x="1762" y="3255"/>
                </a:lnTo>
                <a:lnTo>
                  <a:pt x="1762" y="3072"/>
                </a:lnTo>
                <a:close/>
                <a:moveTo>
                  <a:pt x="1762" y="3353"/>
                </a:moveTo>
                <a:lnTo>
                  <a:pt x="1848" y="3439"/>
                </a:lnTo>
                <a:lnTo>
                  <a:pt x="1762" y="3525"/>
                </a:lnTo>
                <a:lnTo>
                  <a:pt x="1762" y="3353"/>
                </a:lnTo>
                <a:close/>
                <a:moveTo>
                  <a:pt x="1762" y="3623"/>
                </a:moveTo>
                <a:lnTo>
                  <a:pt x="1848" y="3721"/>
                </a:lnTo>
                <a:lnTo>
                  <a:pt x="1762" y="3806"/>
                </a:lnTo>
                <a:lnTo>
                  <a:pt x="1762" y="3623"/>
                </a:lnTo>
                <a:close/>
                <a:moveTo>
                  <a:pt x="1885" y="3745"/>
                </a:moveTo>
                <a:lnTo>
                  <a:pt x="1958" y="3818"/>
                </a:lnTo>
                <a:lnTo>
                  <a:pt x="1799" y="3818"/>
                </a:lnTo>
                <a:lnTo>
                  <a:pt x="1885" y="3745"/>
                </a:lnTo>
                <a:close/>
                <a:moveTo>
                  <a:pt x="1456" y="2644"/>
                </a:moveTo>
                <a:lnTo>
                  <a:pt x="1542" y="2644"/>
                </a:lnTo>
                <a:lnTo>
                  <a:pt x="1542" y="2778"/>
                </a:lnTo>
                <a:lnTo>
                  <a:pt x="1456" y="2778"/>
                </a:lnTo>
                <a:lnTo>
                  <a:pt x="1456" y="2644"/>
                </a:lnTo>
                <a:close/>
                <a:moveTo>
                  <a:pt x="1456" y="2815"/>
                </a:moveTo>
                <a:lnTo>
                  <a:pt x="1542" y="2815"/>
                </a:lnTo>
                <a:lnTo>
                  <a:pt x="1542" y="2949"/>
                </a:lnTo>
                <a:lnTo>
                  <a:pt x="1456" y="2949"/>
                </a:lnTo>
                <a:lnTo>
                  <a:pt x="1456" y="2815"/>
                </a:lnTo>
                <a:close/>
                <a:moveTo>
                  <a:pt x="1456" y="2974"/>
                </a:moveTo>
                <a:lnTo>
                  <a:pt x="1542" y="2974"/>
                </a:lnTo>
                <a:lnTo>
                  <a:pt x="1542" y="3109"/>
                </a:lnTo>
                <a:lnTo>
                  <a:pt x="1456" y="3109"/>
                </a:lnTo>
                <a:lnTo>
                  <a:pt x="1456" y="2974"/>
                </a:lnTo>
                <a:close/>
                <a:moveTo>
                  <a:pt x="1456" y="3145"/>
                </a:moveTo>
                <a:lnTo>
                  <a:pt x="1542" y="3145"/>
                </a:lnTo>
                <a:lnTo>
                  <a:pt x="1542" y="3243"/>
                </a:lnTo>
                <a:lnTo>
                  <a:pt x="1456" y="3243"/>
                </a:lnTo>
                <a:lnTo>
                  <a:pt x="1456" y="3145"/>
                </a:lnTo>
                <a:close/>
                <a:moveTo>
                  <a:pt x="1456" y="3280"/>
                </a:moveTo>
                <a:lnTo>
                  <a:pt x="1542" y="3280"/>
                </a:lnTo>
                <a:lnTo>
                  <a:pt x="1542" y="3415"/>
                </a:lnTo>
                <a:lnTo>
                  <a:pt x="1456" y="3415"/>
                </a:lnTo>
                <a:lnTo>
                  <a:pt x="1456" y="3280"/>
                </a:lnTo>
                <a:close/>
                <a:moveTo>
                  <a:pt x="1456" y="3439"/>
                </a:moveTo>
                <a:lnTo>
                  <a:pt x="1542" y="3439"/>
                </a:lnTo>
                <a:lnTo>
                  <a:pt x="1542" y="3574"/>
                </a:lnTo>
                <a:lnTo>
                  <a:pt x="1456" y="3574"/>
                </a:lnTo>
                <a:lnTo>
                  <a:pt x="1456" y="3439"/>
                </a:lnTo>
                <a:close/>
                <a:moveTo>
                  <a:pt x="1456" y="3610"/>
                </a:moveTo>
                <a:lnTo>
                  <a:pt x="1542" y="3610"/>
                </a:lnTo>
                <a:lnTo>
                  <a:pt x="1542" y="3745"/>
                </a:lnTo>
                <a:lnTo>
                  <a:pt x="1456" y="3745"/>
                </a:lnTo>
                <a:lnTo>
                  <a:pt x="1456" y="3610"/>
                </a:lnTo>
                <a:close/>
                <a:moveTo>
                  <a:pt x="1456" y="3769"/>
                </a:moveTo>
                <a:lnTo>
                  <a:pt x="1542" y="3769"/>
                </a:lnTo>
                <a:lnTo>
                  <a:pt x="1542" y="3818"/>
                </a:lnTo>
                <a:lnTo>
                  <a:pt x="1456" y="3818"/>
                </a:lnTo>
                <a:lnTo>
                  <a:pt x="1456" y="3769"/>
                </a:lnTo>
                <a:close/>
                <a:moveTo>
                  <a:pt x="942" y="2864"/>
                </a:moveTo>
                <a:lnTo>
                  <a:pt x="869" y="2790"/>
                </a:lnTo>
                <a:lnTo>
                  <a:pt x="1028" y="2790"/>
                </a:lnTo>
                <a:lnTo>
                  <a:pt x="942" y="2864"/>
                </a:lnTo>
                <a:close/>
                <a:moveTo>
                  <a:pt x="1052" y="2803"/>
                </a:moveTo>
                <a:lnTo>
                  <a:pt x="1052" y="2974"/>
                </a:lnTo>
                <a:lnTo>
                  <a:pt x="967" y="2888"/>
                </a:lnTo>
                <a:lnTo>
                  <a:pt x="1052" y="2803"/>
                </a:lnTo>
                <a:close/>
                <a:moveTo>
                  <a:pt x="1016" y="2986"/>
                </a:moveTo>
                <a:lnTo>
                  <a:pt x="869" y="2986"/>
                </a:lnTo>
                <a:lnTo>
                  <a:pt x="942" y="2913"/>
                </a:lnTo>
                <a:lnTo>
                  <a:pt x="1016" y="2986"/>
                </a:lnTo>
                <a:close/>
                <a:moveTo>
                  <a:pt x="1028" y="3047"/>
                </a:moveTo>
                <a:lnTo>
                  <a:pt x="942" y="3121"/>
                </a:lnTo>
                <a:lnTo>
                  <a:pt x="869" y="3047"/>
                </a:lnTo>
                <a:lnTo>
                  <a:pt x="1028" y="3047"/>
                </a:lnTo>
                <a:close/>
                <a:moveTo>
                  <a:pt x="1052" y="3060"/>
                </a:moveTo>
                <a:lnTo>
                  <a:pt x="1052" y="3231"/>
                </a:lnTo>
                <a:lnTo>
                  <a:pt x="967" y="3145"/>
                </a:lnTo>
                <a:lnTo>
                  <a:pt x="1052" y="3060"/>
                </a:lnTo>
                <a:close/>
                <a:moveTo>
                  <a:pt x="1016" y="3243"/>
                </a:moveTo>
                <a:lnTo>
                  <a:pt x="869" y="3243"/>
                </a:lnTo>
                <a:lnTo>
                  <a:pt x="942" y="3170"/>
                </a:lnTo>
                <a:lnTo>
                  <a:pt x="1016" y="3243"/>
                </a:lnTo>
                <a:close/>
                <a:moveTo>
                  <a:pt x="1028" y="3304"/>
                </a:moveTo>
                <a:lnTo>
                  <a:pt x="942" y="3378"/>
                </a:lnTo>
                <a:lnTo>
                  <a:pt x="869" y="3304"/>
                </a:lnTo>
                <a:lnTo>
                  <a:pt x="1028" y="3304"/>
                </a:lnTo>
                <a:close/>
                <a:moveTo>
                  <a:pt x="1052" y="3317"/>
                </a:moveTo>
                <a:lnTo>
                  <a:pt x="1052" y="3488"/>
                </a:lnTo>
                <a:lnTo>
                  <a:pt x="967" y="3402"/>
                </a:lnTo>
                <a:lnTo>
                  <a:pt x="1052" y="3317"/>
                </a:lnTo>
                <a:close/>
                <a:moveTo>
                  <a:pt x="1016" y="3500"/>
                </a:moveTo>
                <a:lnTo>
                  <a:pt x="869" y="3500"/>
                </a:lnTo>
                <a:lnTo>
                  <a:pt x="942" y="3427"/>
                </a:lnTo>
                <a:lnTo>
                  <a:pt x="1016" y="3500"/>
                </a:lnTo>
                <a:close/>
                <a:moveTo>
                  <a:pt x="1028" y="3561"/>
                </a:moveTo>
                <a:lnTo>
                  <a:pt x="942" y="3635"/>
                </a:lnTo>
                <a:lnTo>
                  <a:pt x="869" y="3561"/>
                </a:lnTo>
                <a:lnTo>
                  <a:pt x="1028" y="3561"/>
                </a:lnTo>
                <a:close/>
                <a:moveTo>
                  <a:pt x="1052" y="3574"/>
                </a:moveTo>
                <a:lnTo>
                  <a:pt x="1052" y="3745"/>
                </a:lnTo>
                <a:lnTo>
                  <a:pt x="967" y="3659"/>
                </a:lnTo>
                <a:lnTo>
                  <a:pt x="1052" y="3574"/>
                </a:lnTo>
                <a:close/>
                <a:moveTo>
                  <a:pt x="1028" y="1946"/>
                </a:moveTo>
                <a:lnTo>
                  <a:pt x="942" y="2032"/>
                </a:lnTo>
                <a:lnTo>
                  <a:pt x="869" y="1946"/>
                </a:lnTo>
                <a:lnTo>
                  <a:pt x="1028" y="1946"/>
                </a:lnTo>
                <a:close/>
                <a:moveTo>
                  <a:pt x="869" y="1897"/>
                </a:moveTo>
                <a:lnTo>
                  <a:pt x="942" y="1824"/>
                </a:lnTo>
                <a:lnTo>
                  <a:pt x="1016" y="1897"/>
                </a:lnTo>
                <a:lnTo>
                  <a:pt x="869" y="1897"/>
                </a:lnTo>
                <a:close/>
                <a:moveTo>
                  <a:pt x="1052" y="1970"/>
                </a:moveTo>
                <a:lnTo>
                  <a:pt x="1052" y="2130"/>
                </a:lnTo>
                <a:lnTo>
                  <a:pt x="967" y="2056"/>
                </a:lnTo>
                <a:lnTo>
                  <a:pt x="1052" y="1970"/>
                </a:lnTo>
                <a:close/>
                <a:moveTo>
                  <a:pt x="1016" y="2154"/>
                </a:moveTo>
                <a:lnTo>
                  <a:pt x="869" y="2154"/>
                </a:lnTo>
                <a:lnTo>
                  <a:pt x="942" y="2081"/>
                </a:lnTo>
                <a:lnTo>
                  <a:pt x="1016" y="2154"/>
                </a:lnTo>
                <a:close/>
                <a:moveTo>
                  <a:pt x="1028" y="2203"/>
                </a:moveTo>
                <a:lnTo>
                  <a:pt x="942" y="2289"/>
                </a:lnTo>
                <a:lnTo>
                  <a:pt x="869" y="2203"/>
                </a:lnTo>
                <a:lnTo>
                  <a:pt x="1028" y="2203"/>
                </a:lnTo>
                <a:close/>
                <a:moveTo>
                  <a:pt x="1052" y="2227"/>
                </a:moveTo>
                <a:lnTo>
                  <a:pt x="1052" y="2387"/>
                </a:lnTo>
                <a:lnTo>
                  <a:pt x="967" y="2313"/>
                </a:lnTo>
                <a:lnTo>
                  <a:pt x="1052" y="2227"/>
                </a:lnTo>
                <a:close/>
                <a:moveTo>
                  <a:pt x="1016" y="2411"/>
                </a:moveTo>
                <a:lnTo>
                  <a:pt x="869" y="2411"/>
                </a:lnTo>
                <a:lnTo>
                  <a:pt x="942" y="2338"/>
                </a:lnTo>
                <a:lnTo>
                  <a:pt x="1016" y="2411"/>
                </a:lnTo>
                <a:close/>
                <a:moveTo>
                  <a:pt x="1028" y="2460"/>
                </a:moveTo>
                <a:lnTo>
                  <a:pt x="942" y="2533"/>
                </a:lnTo>
                <a:lnTo>
                  <a:pt x="869" y="2460"/>
                </a:lnTo>
                <a:lnTo>
                  <a:pt x="1028" y="2460"/>
                </a:lnTo>
                <a:close/>
                <a:moveTo>
                  <a:pt x="1052" y="2484"/>
                </a:moveTo>
                <a:lnTo>
                  <a:pt x="1052" y="2644"/>
                </a:lnTo>
                <a:lnTo>
                  <a:pt x="967" y="2570"/>
                </a:lnTo>
                <a:lnTo>
                  <a:pt x="1052" y="2484"/>
                </a:lnTo>
                <a:close/>
                <a:moveTo>
                  <a:pt x="1052" y="1872"/>
                </a:moveTo>
                <a:lnTo>
                  <a:pt x="967" y="1799"/>
                </a:lnTo>
                <a:lnTo>
                  <a:pt x="1052" y="1713"/>
                </a:lnTo>
                <a:lnTo>
                  <a:pt x="1052" y="1872"/>
                </a:lnTo>
                <a:close/>
                <a:moveTo>
                  <a:pt x="942" y="1775"/>
                </a:moveTo>
                <a:lnTo>
                  <a:pt x="869" y="1689"/>
                </a:lnTo>
                <a:lnTo>
                  <a:pt x="1028" y="1689"/>
                </a:lnTo>
                <a:lnTo>
                  <a:pt x="942" y="1775"/>
                </a:lnTo>
                <a:close/>
                <a:moveTo>
                  <a:pt x="1003" y="392"/>
                </a:moveTo>
                <a:lnTo>
                  <a:pt x="942" y="453"/>
                </a:lnTo>
                <a:lnTo>
                  <a:pt x="881" y="392"/>
                </a:lnTo>
                <a:lnTo>
                  <a:pt x="1003" y="392"/>
                </a:lnTo>
                <a:close/>
                <a:moveTo>
                  <a:pt x="881" y="355"/>
                </a:moveTo>
                <a:lnTo>
                  <a:pt x="942" y="294"/>
                </a:lnTo>
                <a:lnTo>
                  <a:pt x="1003" y="355"/>
                </a:lnTo>
                <a:lnTo>
                  <a:pt x="881" y="355"/>
                </a:lnTo>
                <a:close/>
                <a:moveTo>
                  <a:pt x="1028" y="404"/>
                </a:moveTo>
                <a:lnTo>
                  <a:pt x="1028" y="538"/>
                </a:lnTo>
                <a:lnTo>
                  <a:pt x="967" y="465"/>
                </a:lnTo>
                <a:lnTo>
                  <a:pt x="1028" y="404"/>
                </a:lnTo>
                <a:close/>
                <a:moveTo>
                  <a:pt x="1003" y="551"/>
                </a:moveTo>
                <a:lnTo>
                  <a:pt x="881" y="551"/>
                </a:lnTo>
                <a:lnTo>
                  <a:pt x="942" y="490"/>
                </a:lnTo>
                <a:lnTo>
                  <a:pt x="1003" y="551"/>
                </a:lnTo>
                <a:close/>
                <a:moveTo>
                  <a:pt x="1028" y="930"/>
                </a:moveTo>
                <a:lnTo>
                  <a:pt x="1028" y="967"/>
                </a:lnTo>
                <a:lnTo>
                  <a:pt x="991" y="930"/>
                </a:lnTo>
                <a:lnTo>
                  <a:pt x="1028" y="930"/>
                </a:lnTo>
                <a:close/>
                <a:moveTo>
                  <a:pt x="954" y="930"/>
                </a:moveTo>
                <a:lnTo>
                  <a:pt x="991" y="967"/>
                </a:lnTo>
                <a:lnTo>
                  <a:pt x="881" y="967"/>
                </a:lnTo>
                <a:lnTo>
                  <a:pt x="930" y="930"/>
                </a:lnTo>
                <a:lnTo>
                  <a:pt x="954" y="930"/>
                </a:lnTo>
                <a:close/>
                <a:moveTo>
                  <a:pt x="1003" y="1016"/>
                </a:moveTo>
                <a:lnTo>
                  <a:pt x="942" y="1077"/>
                </a:lnTo>
                <a:lnTo>
                  <a:pt x="881" y="1016"/>
                </a:lnTo>
                <a:lnTo>
                  <a:pt x="1003" y="1016"/>
                </a:lnTo>
                <a:close/>
                <a:moveTo>
                  <a:pt x="1028" y="1028"/>
                </a:moveTo>
                <a:lnTo>
                  <a:pt x="1028" y="1163"/>
                </a:lnTo>
                <a:lnTo>
                  <a:pt x="954" y="1089"/>
                </a:lnTo>
                <a:lnTo>
                  <a:pt x="1028" y="1028"/>
                </a:lnTo>
                <a:close/>
                <a:moveTo>
                  <a:pt x="991" y="1163"/>
                </a:moveTo>
                <a:lnTo>
                  <a:pt x="881" y="1163"/>
                </a:lnTo>
                <a:lnTo>
                  <a:pt x="942" y="1114"/>
                </a:lnTo>
                <a:lnTo>
                  <a:pt x="991" y="1163"/>
                </a:lnTo>
                <a:close/>
                <a:moveTo>
                  <a:pt x="1003" y="1212"/>
                </a:moveTo>
                <a:lnTo>
                  <a:pt x="942" y="1273"/>
                </a:lnTo>
                <a:lnTo>
                  <a:pt x="881" y="1212"/>
                </a:lnTo>
                <a:lnTo>
                  <a:pt x="1003" y="1212"/>
                </a:lnTo>
                <a:close/>
                <a:moveTo>
                  <a:pt x="1028" y="1224"/>
                </a:moveTo>
                <a:lnTo>
                  <a:pt x="1028" y="1358"/>
                </a:lnTo>
                <a:lnTo>
                  <a:pt x="954" y="1285"/>
                </a:lnTo>
                <a:lnTo>
                  <a:pt x="1028" y="1224"/>
                </a:lnTo>
                <a:close/>
                <a:moveTo>
                  <a:pt x="991" y="1371"/>
                </a:moveTo>
                <a:lnTo>
                  <a:pt x="881" y="1371"/>
                </a:lnTo>
                <a:lnTo>
                  <a:pt x="942" y="1310"/>
                </a:lnTo>
                <a:lnTo>
                  <a:pt x="991" y="1371"/>
                </a:lnTo>
                <a:close/>
                <a:moveTo>
                  <a:pt x="1003" y="1407"/>
                </a:moveTo>
                <a:lnTo>
                  <a:pt x="942" y="1469"/>
                </a:lnTo>
                <a:lnTo>
                  <a:pt x="881" y="1407"/>
                </a:lnTo>
                <a:lnTo>
                  <a:pt x="1003" y="1407"/>
                </a:lnTo>
                <a:close/>
                <a:moveTo>
                  <a:pt x="1028" y="1420"/>
                </a:moveTo>
                <a:lnTo>
                  <a:pt x="1028" y="1554"/>
                </a:lnTo>
                <a:lnTo>
                  <a:pt x="954" y="1481"/>
                </a:lnTo>
                <a:lnTo>
                  <a:pt x="1028" y="1420"/>
                </a:lnTo>
                <a:close/>
                <a:moveTo>
                  <a:pt x="1028" y="343"/>
                </a:moveTo>
                <a:lnTo>
                  <a:pt x="967" y="269"/>
                </a:lnTo>
                <a:lnTo>
                  <a:pt x="1028" y="208"/>
                </a:lnTo>
                <a:lnTo>
                  <a:pt x="1028" y="343"/>
                </a:lnTo>
                <a:close/>
                <a:moveTo>
                  <a:pt x="1003" y="196"/>
                </a:moveTo>
                <a:lnTo>
                  <a:pt x="942" y="257"/>
                </a:lnTo>
                <a:lnTo>
                  <a:pt x="881" y="196"/>
                </a:lnTo>
                <a:lnTo>
                  <a:pt x="1003" y="196"/>
                </a:lnTo>
                <a:close/>
                <a:moveTo>
                  <a:pt x="857" y="208"/>
                </a:moveTo>
                <a:lnTo>
                  <a:pt x="918" y="269"/>
                </a:lnTo>
                <a:lnTo>
                  <a:pt x="857" y="330"/>
                </a:lnTo>
                <a:lnTo>
                  <a:pt x="857" y="208"/>
                </a:lnTo>
                <a:close/>
                <a:moveTo>
                  <a:pt x="857" y="404"/>
                </a:moveTo>
                <a:lnTo>
                  <a:pt x="918" y="465"/>
                </a:lnTo>
                <a:lnTo>
                  <a:pt x="857" y="526"/>
                </a:lnTo>
                <a:lnTo>
                  <a:pt x="857" y="404"/>
                </a:lnTo>
                <a:close/>
                <a:moveTo>
                  <a:pt x="857" y="930"/>
                </a:moveTo>
                <a:lnTo>
                  <a:pt x="881" y="930"/>
                </a:lnTo>
                <a:lnTo>
                  <a:pt x="857" y="955"/>
                </a:lnTo>
                <a:lnTo>
                  <a:pt x="857" y="930"/>
                </a:lnTo>
                <a:close/>
                <a:moveTo>
                  <a:pt x="857" y="1028"/>
                </a:moveTo>
                <a:lnTo>
                  <a:pt x="918" y="1089"/>
                </a:lnTo>
                <a:lnTo>
                  <a:pt x="857" y="1150"/>
                </a:lnTo>
                <a:lnTo>
                  <a:pt x="857" y="1028"/>
                </a:lnTo>
                <a:close/>
                <a:moveTo>
                  <a:pt x="857" y="1224"/>
                </a:moveTo>
                <a:lnTo>
                  <a:pt x="918" y="1285"/>
                </a:lnTo>
                <a:lnTo>
                  <a:pt x="857" y="1346"/>
                </a:lnTo>
                <a:lnTo>
                  <a:pt x="857" y="1224"/>
                </a:lnTo>
                <a:close/>
                <a:moveTo>
                  <a:pt x="857" y="1432"/>
                </a:moveTo>
                <a:lnTo>
                  <a:pt x="918" y="1481"/>
                </a:lnTo>
                <a:lnTo>
                  <a:pt x="857" y="1542"/>
                </a:lnTo>
                <a:lnTo>
                  <a:pt x="857" y="1432"/>
                </a:lnTo>
                <a:close/>
                <a:moveTo>
                  <a:pt x="857" y="1591"/>
                </a:moveTo>
                <a:lnTo>
                  <a:pt x="942" y="1505"/>
                </a:lnTo>
                <a:lnTo>
                  <a:pt x="1028" y="1591"/>
                </a:lnTo>
                <a:lnTo>
                  <a:pt x="1028" y="1640"/>
                </a:lnTo>
                <a:lnTo>
                  <a:pt x="857" y="1640"/>
                </a:lnTo>
                <a:lnTo>
                  <a:pt x="857" y="1591"/>
                </a:lnTo>
                <a:close/>
                <a:moveTo>
                  <a:pt x="844" y="1713"/>
                </a:moveTo>
                <a:lnTo>
                  <a:pt x="918" y="1799"/>
                </a:lnTo>
                <a:lnTo>
                  <a:pt x="844" y="1872"/>
                </a:lnTo>
                <a:lnTo>
                  <a:pt x="844" y="1713"/>
                </a:lnTo>
                <a:close/>
                <a:moveTo>
                  <a:pt x="844" y="1970"/>
                </a:moveTo>
                <a:lnTo>
                  <a:pt x="918" y="2056"/>
                </a:lnTo>
                <a:lnTo>
                  <a:pt x="844" y="2130"/>
                </a:lnTo>
                <a:lnTo>
                  <a:pt x="844" y="1970"/>
                </a:lnTo>
                <a:close/>
                <a:moveTo>
                  <a:pt x="844" y="2227"/>
                </a:moveTo>
                <a:lnTo>
                  <a:pt x="918" y="2313"/>
                </a:lnTo>
                <a:lnTo>
                  <a:pt x="844" y="2387"/>
                </a:lnTo>
                <a:lnTo>
                  <a:pt x="844" y="2227"/>
                </a:lnTo>
                <a:close/>
                <a:moveTo>
                  <a:pt x="844" y="2484"/>
                </a:moveTo>
                <a:lnTo>
                  <a:pt x="918" y="2570"/>
                </a:lnTo>
                <a:lnTo>
                  <a:pt x="844" y="2644"/>
                </a:lnTo>
                <a:lnTo>
                  <a:pt x="844" y="2484"/>
                </a:lnTo>
                <a:close/>
                <a:moveTo>
                  <a:pt x="844" y="2692"/>
                </a:moveTo>
                <a:lnTo>
                  <a:pt x="942" y="2595"/>
                </a:lnTo>
                <a:lnTo>
                  <a:pt x="1052" y="2705"/>
                </a:lnTo>
                <a:lnTo>
                  <a:pt x="1052" y="2705"/>
                </a:lnTo>
                <a:lnTo>
                  <a:pt x="1052" y="2729"/>
                </a:lnTo>
                <a:lnTo>
                  <a:pt x="844" y="2729"/>
                </a:lnTo>
                <a:lnTo>
                  <a:pt x="844" y="2692"/>
                </a:lnTo>
                <a:close/>
                <a:moveTo>
                  <a:pt x="844" y="2815"/>
                </a:moveTo>
                <a:lnTo>
                  <a:pt x="918" y="2888"/>
                </a:lnTo>
                <a:lnTo>
                  <a:pt x="844" y="2974"/>
                </a:lnTo>
                <a:lnTo>
                  <a:pt x="844" y="2815"/>
                </a:lnTo>
                <a:close/>
                <a:moveTo>
                  <a:pt x="844" y="3072"/>
                </a:moveTo>
                <a:lnTo>
                  <a:pt x="918" y="3145"/>
                </a:lnTo>
                <a:lnTo>
                  <a:pt x="844" y="3231"/>
                </a:lnTo>
                <a:lnTo>
                  <a:pt x="844" y="3072"/>
                </a:lnTo>
                <a:close/>
                <a:moveTo>
                  <a:pt x="844" y="3329"/>
                </a:moveTo>
                <a:lnTo>
                  <a:pt x="918" y="3402"/>
                </a:lnTo>
                <a:lnTo>
                  <a:pt x="844" y="3488"/>
                </a:lnTo>
                <a:lnTo>
                  <a:pt x="844" y="3329"/>
                </a:lnTo>
                <a:close/>
                <a:moveTo>
                  <a:pt x="844" y="3586"/>
                </a:moveTo>
                <a:lnTo>
                  <a:pt x="918" y="3659"/>
                </a:lnTo>
                <a:lnTo>
                  <a:pt x="844" y="3745"/>
                </a:lnTo>
                <a:lnTo>
                  <a:pt x="844" y="3586"/>
                </a:lnTo>
                <a:close/>
                <a:moveTo>
                  <a:pt x="281" y="673"/>
                </a:moveTo>
                <a:lnTo>
                  <a:pt x="306" y="673"/>
                </a:lnTo>
                <a:lnTo>
                  <a:pt x="281" y="710"/>
                </a:lnTo>
                <a:lnTo>
                  <a:pt x="281" y="673"/>
                </a:lnTo>
                <a:close/>
                <a:moveTo>
                  <a:pt x="281" y="808"/>
                </a:moveTo>
                <a:lnTo>
                  <a:pt x="281" y="771"/>
                </a:lnTo>
                <a:lnTo>
                  <a:pt x="318" y="808"/>
                </a:lnTo>
                <a:lnTo>
                  <a:pt x="281" y="808"/>
                </a:lnTo>
                <a:close/>
                <a:moveTo>
                  <a:pt x="330" y="783"/>
                </a:moveTo>
                <a:lnTo>
                  <a:pt x="281" y="734"/>
                </a:lnTo>
                <a:lnTo>
                  <a:pt x="330" y="685"/>
                </a:lnTo>
                <a:lnTo>
                  <a:pt x="330" y="783"/>
                </a:lnTo>
                <a:close/>
                <a:moveTo>
                  <a:pt x="416" y="734"/>
                </a:moveTo>
                <a:lnTo>
                  <a:pt x="367" y="783"/>
                </a:lnTo>
                <a:lnTo>
                  <a:pt x="367" y="685"/>
                </a:lnTo>
                <a:lnTo>
                  <a:pt x="416" y="734"/>
                </a:lnTo>
                <a:close/>
                <a:moveTo>
                  <a:pt x="379" y="673"/>
                </a:moveTo>
                <a:lnTo>
                  <a:pt x="477" y="673"/>
                </a:lnTo>
                <a:lnTo>
                  <a:pt x="428" y="722"/>
                </a:lnTo>
                <a:lnTo>
                  <a:pt x="379" y="673"/>
                </a:lnTo>
                <a:close/>
                <a:moveTo>
                  <a:pt x="367" y="808"/>
                </a:moveTo>
                <a:lnTo>
                  <a:pt x="428" y="747"/>
                </a:lnTo>
                <a:lnTo>
                  <a:pt x="477" y="808"/>
                </a:lnTo>
                <a:lnTo>
                  <a:pt x="367" y="808"/>
                </a:lnTo>
                <a:close/>
                <a:moveTo>
                  <a:pt x="489" y="783"/>
                </a:moveTo>
                <a:lnTo>
                  <a:pt x="440" y="734"/>
                </a:lnTo>
                <a:lnTo>
                  <a:pt x="489" y="685"/>
                </a:lnTo>
                <a:lnTo>
                  <a:pt x="489" y="783"/>
                </a:lnTo>
                <a:close/>
                <a:moveTo>
                  <a:pt x="575" y="734"/>
                </a:moveTo>
                <a:lnTo>
                  <a:pt x="526" y="783"/>
                </a:lnTo>
                <a:lnTo>
                  <a:pt x="526" y="685"/>
                </a:lnTo>
                <a:lnTo>
                  <a:pt x="575" y="734"/>
                </a:lnTo>
                <a:close/>
                <a:moveTo>
                  <a:pt x="538" y="673"/>
                </a:moveTo>
                <a:lnTo>
                  <a:pt x="648" y="673"/>
                </a:lnTo>
                <a:lnTo>
                  <a:pt x="587" y="722"/>
                </a:lnTo>
                <a:lnTo>
                  <a:pt x="538" y="673"/>
                </a:lnTo>
                <a:close/>
                <a:moveTo>
                  <a:pt x="538" y="808"/>
                </a:moveTo>
                <a:lnTo>
                  <a:pt x="587" y="747"/>
                </a:lnTo>
                <a:lnTo>
                  <a:pt x="648" y="808"/>
                </a:lnTo>
                <a:lnTo>
                  <a:pt x="538" y="808"/>
                </a:lnTo>
                <a:close/>
                <a:moveTo>
                  <a:pt x="661" y="783"/>
                </a:moveTo>
                <a:lnTo>
                  <a:pt x="612" y="734"/>
                </a:lnTo>
                <a:lnTo>
                  <a:pt x="661" y="685"/>
                </a:lnTo>
                <a:lnTo>
                  <a:pt x="661" y="783"/>
                </a:lnTo>
                <a:close/>
                <a:moveTo>
                  <a:pt x="771" y="808"/>
                </a:moveTo>
                <a:lnTo>
                  <a:pt x="697" y="808"/>
                </a:lnTo>
                <a:lnTo>
                  <a:pt x="759" y="747"/>
                </a:lnTo>
                <a:lnTo>
                  <a:pt x="771" y="771"/>
                </a:lnTo>
                <a:lnTo>
                  <a:pt x="771" y="808"/>
                </a:lnTo>
                <a:close/>
                <a:moveTo>
                  <a:pt x="697" y="783"/>
                </a:moveTo>
                <a:lnTo>
                  <a:pt x="697" y="685"/>
                </a:lnTo>
                <a:lnTo>
                  <a:pt x="746" y="734"/>
                </a:lnTo>
                <a:lnTo>
                  <a:pt x="697" y="783"/>
                </a:lnTo>
                <a:close/>
                <a:moveTo>
                  <a:pt x="771" y="698"/>
                </a:moveTo>
                <a:lnTo>
                  <a:pt x="759" y="722"/>
                </a:lnTo>
                <a:lnTo>
                  <a:pt x="710" y="673"/>
                </a:lnTo>
                <a:lnTo>
                  <a:pt x="771" y="673"/>
                </a:lnTo>
                <a:lnTo>
                  <a:pt x="771" y="698"/>
                </a:lnTo>
                <a:close/>
                <a:moveTo>
                  <a:pt x="771" y="551"/>
                </a:moveTo>
                <a:lnTo>
                  <a:pt x="771" y="636"/>
                </a:lnTo>
                <a:lnTo>
                  <a:pt x="697" y="636"/>
                </a:lnTo>
                <a:lnTo>
                  <a:pt x="661" y="636"/>
                </a:lnTo>
                <a:lnTo>
                  <a:pt x="526" y="636"/>
                </a:lnTo>
                <a:lnTo>
                  <a:pt x="489" y="636"/>
                </a:lnTo>
                <a:lnTo>
                  <a:pt x="367" y="636"/>
                </a:lnTo>
                <a:lnTo>
                  <a:pt x="330" y="636"/>
                </a:lnTo>
                <a:lnTo>
                  <a:pt x="318" y="636"/>
                </a:lnTo>
                <a:lnTo>
                  <a:pt x="820" y="171"/>
                </a:lnTo>
                <a:lnTo>
                  <a:pt x="820" y="196"/>
                </a:lnTo>
                <a:lnTo>
                  <a:pt x="820" y="355"/>
                </a:lnTo>
                <a:lnTo>
                  <a:pt x="820" y="392"/>
                </a:lnTo>
                <a:lnTo>
                  <a:pt x="820" y="551"/>
                </a:lnTo>
                <a:lnTo>
                  <a:pt x="820" y="551"/>
                </a:lnTo>
                <a:lnTo>
                  <a:pt x="771" y="551"/>
                </a:lnTo>
                <a:close/>
                <a:moveTo>
                  <a:pt x="844" y="3794"/>
                </a:moveTo>
                <a:lnTo>
                  <a:pt x="942" y="3684"/>
                </a:lnTo>
                <a:lnTo>
                  <a:pt x="1052" y="3794"/>
                </a:lnTo>
                <a:lnTo>
                  <a:pt x="1052" y="3794"/>
                </a:lnTo>
                <a:lnTo>
                  <a:pt x="1052" y="3818"/>
                </a:lnTo>
                <a:lnTo>
                  <a:pt x="844" y="3818"/>
                </a:lnTo>
                <a:lnTo>
                  <a:pt x="844" y="3794"/>
                </a:lnTo>
                <a:close/>
              </a:path>
            </a:pathLst>
          </a:custGeom>
          <a:solidFill>
            <a:srgbClr val="63666A"/>
          </a:solidFill>
          <a:ln>
            <a:noFill/>
          </a:ln>
        </p:spPr>
        <p:txBody>
          <a:bodyPr vert="horz" wrap="square" lIns="45720" tIns="22860" rIns="45720" bIns="22860" numCol="1" anchor="t" anchorCtr="0" compatLnSpc="1">
            <a:prstTxWarp prst="textNoShape">
              <a:avLst/>
            </a:prstTxWarp>
          </a:bodyPr>
          <a:lstStyle/>
          <a:p>
            <a:endParaRPr lang="th-TH" sz="900"/>
          </a:p>
        </p:txBody>
      </p:sp>
    </p:spTree>
    <p:extLst>
      <p:ext uri="{BB962C8B-B14F-4D97-AF65-F5344CB8AC3E}">
        <p14:creationId xmlns:p14="http://schemas.microsoft.com/office/powerpoint/2010/main" val="185498810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886399689"/>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66316" y="4194287"/>
            <a:ext cx="8528936" cy="2169796"/>
          </a:xfrm>
        </p:spPr>
        <p:txBody>
          <a:bodyPr anchor="b" anchorCtr="0">
            <a:noAutofit/>
          </a:bodyPr>
          <a:lstStyle>
            <a:lvl1pPr>
              <a:lnSpc>
                <a:spcPct val="100000"/>
              </a:lnSpc>
              <a:spcAft>
                <a:spcPts val="450"/>
              </a:spcAft>
              <a:defRPr sz="8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412074" y="4189870"/>
            <a:ext cx="2319503" cy="1725448"/>
          </a:xfrm>
        </p:spPr>
        <p:txBody>
          <a:bodyPr anchor="ctr" anchorCtr="0">
            <a:normAutofit/>
          </a:bodyPr>
          <a:lstStyle>
            <a:lvl1pPr algn="ctr">
              <a:defRPr sz="800">
                <a:solidFill>
                  <a:schemeClr val="bg1"/>
                </a:solidFill>
              </a:defRPr>
            </a:lvl1pPr>
          </a:lstStyle>
          <a:p>
            <a:r>
              <a:rPr lang="en-GB" sz="675" dirty="0"/>
              <a:t>Insert sponsorship mark here</a:t>
            </a:r>
            <a:endParaRPr lang="en-GB" dirty="0"/>
          </a:p>
        </p:txBody>
      </p:sp>
      <p:sp>
        <p:nvSpPr>
          <p:cNvPr id="8" name="Text Placeholder 7"/>
          <p:cNvSpPr>
            <a:spLocks noGrp="1"/>
          </p:cNvSpPr>
          <p:nvPr>
            <p:ph type="body" sz="quarter" idx="15" hasCustomPrompt="1"/>
          </p:nvPr>
        </p:nvSpPr>
        <p:spPr>
          <a:xfrm>
            <a:off x="9412076" y="5995943"/>
            <a:ext cx="2319501" cy="363722"/>
          </a:xfrm>
        </p:spPr>
        <p:txBody>
          <a:bodyPr anchor="b" anchorCtr="0">
            <a:noAutofit/>
          </a:bodyPr>
          <a:lstStyle>
            <a:lvl1pPr>
              <a:lnSpc>
                <a:spcPct val="100000"/>
              </a:lnSpc>
              <a:defRPr sz="800">
                <a:solidFill>
                  <a:schemeClr val="bg1"/>
                </a:solidFill>
              </a:defRPr>
            </a:lvl1pPr>
          </a:lstStyle>
          <a:p>
            <a:pPr lvl="0"/>
            <a:r>
              <a:rPr lang="en-US" dirty="0"/>
              <a:t>Advanced graphics timesaver</a:t>
            </a:r>
          </a:p>
          <a:p>
            <a:pPr lvl="0"/>
            <a:endParaRPr lang="en-US" dirty="0"/>
          </a:p>
        </p:txBody>
      </p:sp>
      <p:grpSp>
        <p:nvGrpSpPr>
          <p:cNvPr id="16" name="Group 15">
            <a:extLst>
              <a:ext uri="{FF2B5EF4-FFF2-40B4-BE49-F238E27FC236}">
                <a16:creationId xmlns:a16="http://schemas.microsoft.com/office/drawing/2014/main" id="{8AB860FC-9229-466C-B67B-E6B79E07BB2B}"/>
              </a:ext>
            </a:extLst>
          </p:cNvPr>
          <p:cNvGrpSpPr/>
          <p:nvPr userDrawn="1"/>
        </p:nvGrpSpPr>
        <p:grpSpPr>
          <a:xfrm>
            <a:off x="463296" y="341312"/>
            <a:ext cx="1819656" cy="347472"/>
            <a:chOff x="398463" y="404813"/>
            <a:chExt cx="1627187" cy="307976"/>
          </a:xfrm>
          <a:solidFill>
            <a:schemeClr val="bg1"/>
          </a:solidFill>
        </p:grpSpPr>
        <p:sp>
          <p:nvSpPr>
            <p:cNvPr id="17" name="Oval 5">
              <a:extLst>
                <a:ext uri="{FF2B5EF4-FFF2-40B4-BE49-F238E27FC236}">
                  <a16:creationId xmlns:a16="http://schemas.microsoft.com/office/drawing/2014/main" id="{477D509D-A74E-4D79-8C41-28EE2087710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8" name="Freeform 6">
              <a:extLst>
                <a:ext uri="{FF2B5EF4-FFF2-40B4-BE49-F238E27FC236}">
                  <a16:creationId xmlns:a16="http://schemas.microsoft.com/office/drawing/2014/main" id="{CC851991-483D-4A9F-8C5F-626DE9D5C1B0}"/>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19" name="Rectangle 7">
              <a:extLst>
                <a:ext uri="{FF2B5EF4-FFF2-40B4-BE49-F238E27FC236}">
                  <a16:creationId xmlns:a16="http://schemas.microsoft.com/office/drawing/2014/main" id="{28FEC250-9F3B-45BC-90AF-4CDE000C2C36}"/>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1" name="Freeform 8">
              <a:extLst>
                <a:ext uri="{FF2B5EF4-FFF2-40B4-BE49-F238E27FC236}">
                  <a16:creationId xmlns:a16="http://schemas.microsoft.com/office/drawing/2014/main" id="{F8494B23-9F67-4108-8FC3-E645BD138AE0}"/>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2" name="Rectangle 9">
              <a:extLst>
                <a:ext uri="{FF2B5EF4-FFF2-40B4-BE49-F238E27FC236}">
                  <a16:creationId xmlns:a16="http://schemas.microsoft.com/office/drawing/2014/main" id="{198EEDBF-F835-40E6-A1D3-AAADC96DD00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3" name="Rectangle 10">
              <a:extLst>
                <a:ext uri="{FF2B5EF4-FFF2-40B4-BE49-F238E27FC236}">
                  <a16:creationId xmlns:a16="http://schemas.microsoft.com/office/drawing/2014/main" id="{42C9A861-6332-4ADC-88F7-183765B2D79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4" name="Freeform 11">
              <a:extLst>
                <a:ext uri="{FF2B5EF4-FFF2-40B4-BE49-F238E27FC236}">
                  <a16:creationId xmlns:a16="http://schemas.microsoft.com/office/drawing/2014/main" id="{593BFC01-C985-4400-9F59-CA3E701AB845}"/>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5" name="Freeform 12">
              <a:extLst>
                <a:ext uri="{FF2B5EF4-FFF2-40B4-BE49-F238E27FC236}">
                  <a16:creationId xmlns:a16="http://schemas.microsoft.com/office/drawing/2014/main" id="{4A67BA7C-21CB-474A-9E6A-BCA082851A8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6" name="Freeform 13">
              <a:extLst>
                <a:ext uri="{FF2B5EF4-FFF2-40B4-BE49-F238E27FC236}">
                  <a16:creationId xmlns:a16="http://schemas.microsoft.com/office/drawing/2014/main" id="{315ADC0C-A127-4E52-A974-5D4D91506DA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sp>
          <p:nvSpPr>
            <p:cNvPr id="37" name="Freeform 14">
              <a:extLst>
                <a:ext uri="{FF2B5EF4-FFF2-40B4-BE49-F238E27FC236}">
                  <a16:creationId xmlns:a16="http://schemas.microsoft.com/office/drawing/2014/main" id="{71ADF477-53BF-4770-AA08-07332CAF6A7B}"/>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dirty="0">
                <a:solidFill>
                  <a:schemeClr val="bg1"/>
                </a:solidFill>
              </a:endParaRPr>
            </a:p>
          </p:txBody>
        </p:sp>
      </p:grpSp>
    </p:spTree>
    <p:extLst>
      <p:ext uri="{BB962C8B-B14F-4D97-AF65-F5344CB8AC3E}">
        <p14:creationId xmlns:p14="http://schemas.microsoft.com/office/powerpoint/2010/main" val="1350375720"/>
      </p:ext>
    </p:extLst>
  </p:cSld>
  <p:clrMapOvr>
    <a:masterClrMapping/>
  </p:clrMapOvr>
  <p:hf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Copyright">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75326" y="453431"/>
            <a:ext cx="1998000" cy="372379"/>
          </a:xfrm>
          <a:prstGeom prst="rect">
            <a:avLst/>
          </a:prstGeom>
        </p:spPr>
      </p:pic>
      <p:sp>
        <p:nvSpPr>
          <p:cNvPr id="15" name="Text Box 15"/>
          <p:cNvSpPr txBox="1">
            <a:spLocks noChangeArrowheads="1"/>
          </p:cNvSpPr>
          <p:nvPr userDrawn="1"/>
        </p:nvSpPr>
        <p:spPr bwMode="auto">
          <a:xfrm>
            <a:off x="414013" y="4303599"/>
            <a:ext cx="6709212" cy="2079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3531" tIns="41765" rIns="83531" bIns="41765">
            <a:spAutoFit/>
          </a:bodyPr>
          <a:lstStyle>
            <a:lvl1pPr defTabSz="1016000" eaLnBrk="0" hangingPunct="0">
              <a:defRPr sz="2000">
                <a:solidFill>
                  <a:schemeClr val="tx1"/>
                </a:solidFill>
                <a:latin typeface="Arial" charset="0"/>
                <a:cs typeface="Arial" charset="0"/>
              </a:defRPr>
            </a:lvl1pPr>
            <a:lvl2pPr marL="742950" indent="-285750" defTabSz="1016000" eaLnBrk="0" hangingPunct="0">
              <a:defRPr sz="2000">
                <a:solidFill>
                  <a:schemeClr val="tx1"/>
                </a:solidFill>
                <a:latin typeface="Arial" charset="0"/>
                <a:cs typeface="Arial" charset="0"/>
              </a:defRPr>
            </a:lvl2pPr>
            <a:lvl3pPr marL="1143000" indent="-228600" defTabSz="1016000" eaLnBrk="0" hangingPunct="0">
              <a:defRPr sz="2000">
                <a:solidFill>
                  <a:schemeClr val="tx1"/>
                </a:solidFill>
                <a:latin typeface="Arial" charset="0"/>
                <a:cs typeface="Arial" charset="0"/>
              </a:defRPr>
            </a:lvl3pPr>
            <a:lvl4pPr marL="1600200" indent="-228600" defTabSz="1016000" eaLnBrk="0" hangingPunct="0">
              <a:defRPr sz="2000">
                <a:solidFill>
                  <a:schemeClr val="tx1"/>
                </a:solidFill>
                <a:latin typeface="Arial" charset="0"/>
                <a:cs typeface="Arial" charset="0"/>
              </a:defRPr>
            </a:lvl4pPr>
            <a:lvl5pPr marL="2057400" indent="-228600" defTabSz="1016000" eaLnBrk="0" hangingPunct="0">
              <a:defRPr sz="2000">
                <a:solidFill>
                  <a:schemeClr val="tx1"/>
                </a:solidFill>
                <a:latin typeface="Arial" charset="0"/>
                <a:cs typeface="Arial" charset="0"/>
              </a:defRPr>
            </a:lvl5pPr>
            <a:lvl6pPr marL="2514600" indent="-228600" defTabSz="1016000" eaLnBrk="0" fontAlgn="base" hangingPunct="0">
              <a:spcBef>
                <a:spcPct val="0"/>
              </a:spcBef>
              <a:spcAft>
                <a:spcPct val="0"/>
              </a:spcAft>
              <a:defRPr sz="2000">
                <a:solidFill>
                  <a:schemeClr val="tx1"/>
                </a:solidFill>
                <a:latin typeface="Arial" charset="0"/>
                <a:cs typeface="Arial" charset="0"/>
              </a:defRPr>
            </a:lvl6pPr>
            <a:lvl7pPr marL="2971800" indent="-228600" defTabSz="1016000" eaLnBrk="0" fontAlgn="base" hangingPunct="0">
              <a:spcBef>
                <a:spcPct val="0"/>
              </a:spcBef>
              <a:spcAft>
                <a:spcPct val="0"/>
              </a:spcAft>
              <a:defRPr sz="2000">
                <a:solidFill>
                  <a:schemeClr val="tx1"/>
                </a:solidFill>
                <a:latin typeface="Arial" charset="0"/>
                <a:cs typeface="Arial" charset="0"/>
              </a:defRPr>
            </a:lvl7pPr>
            <a:lvl8pPr marL="3429000" indent="-228600" defTabSz="1016000" eaLnBrk="0" fontAlgn="base" hangingPunct="0">
              <a:spcBef>
                <a:spcPct val="0"/>
              </a:spcBef>
              <a:spcAft>
                <a:spcPct val="0"/>
              </a:spcAft>
              <a:defRPr sz="2000">
                <a:solidFill>
                  <a:schemeClr val="tx1"/>
                </a:solidFill>
                <a:latin typeface="Arial" charset="0"/>
                <a:cs typeface="Arial" charset="0"/>
              </a:defRPr>
            </a:lvl8pPr>
            <a:lvl9pPr marL="3886200" indent="-228600" defTabSz="1016000" eaLnBrk="0" fontAlgn="base" hangingPunct="0">
              <a:spcBef>
                <a:spcPct val="0"/>
              </a:spcBef>
              <a:spcAft>
                <a:spcPct val="0"/>
              </a:spcAft>
              <a:defRPr sz="2000">
                <a:solidFill>
                  <a:schemeClr val="tx1"/>
                </a:solidFill>
                <a:latin typeface="Arial" charset="0"/>
                <a:cs typeface="Arial" charset="0"/>
              </a:defRPr>
            </a:lvl9pPr>
          </a:lstStyle>
          <a:p>
            <a:pPr defTabSz="957770" eaLnBrk="1" hangingPunct="1">
              <a:defRPr/>
            </a:pPr>
            <a:r>
              <a:rPr lang="en-US" sz="779" kern="0">
                <a:solidFill>
                  <a:schemeClr val="bg1"/>
                </a:solidFill>
                <a:latin typeface="Verdana" panose="020B0604030504040204" pitchFamily="34" charset="0"/>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about for a more detailed description of DTTL and its member firms.  </a:t>
            </a:r>
          </a:p>
          <a:p>
            <a:pPr defTabSz="957770" eaLnBrk="1" hangingPunct="1">
              <a:defRPr/>
            </a:pPr>
            <a:endParaRPr lang="en-US" sz="779" kern="0">
              <a:solidFill>
                <a:schemeClr val="bg1"/>
              </a:solidFill>
              <a:latin typeface="Verdana" panose="020B0604030504040204" pitchFamily="34" charset="0"/>
            </a:endParaRPr>
          </a:p>
          <a:p>
            <a:pPr defTabSz="957770" eaLnBrk="1" hangingPunct="1">
              <a:defRPr/>
            </a:pPr>
            <a:r>
              <a:rPr lang="en-GB" sz="779" kern="0">
                <a:solidFill>
                  <a:schemeClr val="bg1"/>
                </a:solidFill>
                <a:latin typeface="Verdana" panose="020B0604030504040204" pitchFamily="34" charset="0"/>
              </a:rPr>
              <a:t>Deloitte &amp; Touche, a member firm of Deloitte Touche Tohmatsu Limited, is a professional services organization that provides audit, tax, consulting, business process-as-a-service, corporate finance, and risk advisory services.</a:t>
            </a:r>
          </a:p>
          <a:p>
            <a:pPr defTabSz="957770" eaLnBrk="1" hangingPunct="1">
              <a:defRPr/>
            </a:pPr>
            <a:endParaRPr lang="en-US" sz="779" kern="0">
              <a:solidFill>
                <a:schemeClr val="bg1"/>
              </a:solidFill>
              <a:latin typeface="Verdana" panose="020B0604030504040204" pitchFamily="34" charset="0"/>
            </a:endParaRPr>
          </a:p>
          <a:p>
            <a:pPr defTabSz="957770">
              <a:defRPr/>
            </a:pPr>
            <a:r>
              <a:rPr lang="en-US" sz="779" kern="0">
                <a:solidFill>
                  <a:schemeClr val="bg1"/>
                </a:solidFill>
                <a:latin typeface="Verdana" panose="020B0604030504040204" pitchFamily="34" charset="0"/>
              </a:rPr>
              <a:t>Deloitte provides audit, tax, consulting, and financial advisory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210,000 professionals are committed to becoming the standard of excellence.</a:t>
            </a:r>
          </a:p>
          <a:p>
            <a:pPr defTabSz="957770">
              <a:defRPr/>
            </a:pPr>
            <a:endParaRPr lang="en-GB" sz="779" kern="0">
              <a:solidFill>
                <a:schemeClr val="bg1"/>
              </a:solidFill>
              <a:latin typeface="Verdana" panose="020B0604030504040204" pitchFamily="34" charset="0"/>
            </a:endParaRPr>
          </a:p>
          <a:p>
            <a:pPr defTabSz="957770" eaLnBrk="1" hangingPunct="1">
              <a:spcAft>
                <a:spcPts val="550"/>
              </a:spcAft>
              <a:defRPr/>
            </a:pPr>
            <a:r>
              <a:rPr lang="en-US" sz="779" kern="0">
                <a:solidFill>
                  <a:schemeClr val="bg1"/>
                </a:solidFill>
                <a:latin typeface="Verdana" panose="020B0604030504040204" pitchFamily="34" charset="0"/>
              </a:rPr>
              <a:t>© 2024. For information, contact Deloitte &amp; Touche. </a:t>
            </a:r>
            <a:r>
              <a:rPr lang="en-GB" sz="779" kern="0">
                <a:solidFill>
                  <a:schemeClr val="bg1"/>
                </a:solidFill>
                <a:latin typeface="Verdana" panose="020B0604030504040204" pitchFamily="34" charset="0"/>
              </a:rPr>
              <a:t>All </a:t>
            </a:r>
            <a:r>
              <a:rPr lang="en-US" sz="779" kern="0">
                <a:solidFill>
                  <a:schemeClr val="bg1"/>
                </a:solidFill>
                <a:latin typeface="Verdana" panose="020B0604030504040204" pitchFamily="34" charset="0"/>
              </a:rPr>
              <a:t>rights reserved.</a:t>
            </a:r>
            <a:endParaRPr lang="en-GB" sz="779" kern="0">
              <a:solidFill>
                <a:schemeClr val="bg1"/>
              </a:solidFill>
              <a:latin typeface="Verdana" panose="020B0604030504040204" pitchFamily="34" charset="0"/>
            </a:endParaRPr>
          </a:p>
          <a:p>
            <a:pPr defTabSz="957770" eaLnBrk="1" hangingPunct="1">
              <a:defRPr/>
            </a:pPr>
            <a:r>
              <a:rPr lang="en-GB" sz="779" b="1" kern="0">
                <a:solidFill>
                  <a:schemeClr val="bg1"/>
                </a:solidFill>
                <a:latin typeface="Verdana" panose="020B0604030504040204" pitchFamily="34" charset="0"/>
              </a:rPr>
              <a:t>       </a:t>
            </a:r>
          </a:p>
          <a:p>
            <a:pPr defTabSz="957770" eaLnBrk="1" hangingPunct="1">
              <a:spcAft>
                <a:spcPts val="550"/>
              </a:spcAft>
              <a:defRPr/>
            </a:pPr>
            <a:r>
              <a:rPr lang="en-GB" sz="779" b="1" kern="0">
                <a:solidFill>
                  <a:schemeClr val="bg1"/>
                </a:solidFill>
                <a:latin typeface="Verdana" panose="020B0604030504040204" pitchFamily="34" charset="0"/>
              </a:rPr>
              <a:t>            </a:t>
            </a:r>
            <a:r>
              <a:rPr lang="en-GB" sz="779" kern="0">
                <a:solidFill>
                  <a:schemeClr val="bg1"/>
                </a:solidFill>
                <a:latin typeface="Verdana" panose="020B0604030504040204" pitchFamily="34" charset="0"/>
              </a:rPr>
              <a:t>www.facebook.com/DeloitteGhana                www.twitter.com/DeloitteGhana	 </a:t>
            </a:r>
            <a:endParaRPr lang="en-US" sz="779" kern="0">
              <a:solidFill>
                <a:schemeClr val="bg1"/>
              </a:solidFill>
              <a:latin typeface="Verdana" panose="020B0604030504040204" pitchFamily="34" charset="0"/>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38711" y="6098492"/>
            <a:ext cx="403183" cy="380096"/>
          </a:xfrm>
          <a:prstGeom prst="rect">
            <a:avLst/>
          </a:prstGeom>
        </p:spPr>
      </p:pic>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63816" y="6098492"/>
            <a:ext cx="403183" cy="380096"/>
          </a:xfrm>
          <a:prstGeom prst="rect">
            <a:avLst/>
          </a:prstGeom>
        </p:spPr>
      </p:pic>
      <p:sp>
        <p:nvSpPr>
          <p:cNvPr id="18" name="Rectangle 17"/>
          <p:cNvSpPr/>
          <p:nvPr userDrawn="1"/>
        </p:nvSpPr>
        <p:spPr>
          <a:xfrm>
            <a:off x="380250" y="3859361"/>
            <a:ext cx="5345907" cy="310150"/>
          </a:xfrm>
          <a:prstGeom prst="rect">
            <a:avLst/>
          </a:prstGeom>
        </p:spPr>
        <p:txBody>
          <a:bodyPr>
            <a:spAutoFit/>
          </a:bodyPr>
          <a:lstStyle/>
          <a:p>
            <a:pPr>
              <a:lnSpc>
                <a:spcPct val="107000"/>
              </a:lnSpc>
              <a:spcAft>
                <a:spcPts val="882"/>
              </a:spcAft>
            </a:pPr>
            <a:r>
              <a:rPr lang="en-GB" sz="1323" b="1">
                <a:solidFill>
                  <a:schemeClr val="bg1"/>
                </a:solidFill>
                <a:latin typeface="Verdana" panose="020B0604030504040204" pitchFamily="34" charset="0"/>
                <a:ea typeface="Times New Roman" panose="02020603050405020304" pitchFamily="18" charset="0"/>
                <a:cs typeface="Times New Roman" panose="02020603050405020304" pitchFamily="18" charset="0"/>
              </a:rPr>
              <a:t>www2.deloitte.com/gh</a:t>
            </a:r>
            <a:endParaRPr lang="en-ZA" sz="1323">
              <a:solidFill>
                <a:schemeClr val="bg1"/>
              </a:solidFill>
              <a:effectLst/>
              <a:latin typeface="Book Antiqua" panose="02040602050305030304" pitchFamily="18"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3627040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88521295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29602897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742685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5633574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308331818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dirty="0"/>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dirty="0"/>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136490014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tx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0802D929-4615-47C4-B489-CD906AEEC7AD}"/>
              </a:ext>
            </a:extLst>
          </p:cNvPr>
          <p:cNvGrpSpPr>
            <a:grpSpLocks noChangeAspect="1"/>
          </p:cNvGrpSpPr>
          <p:nvPr/>
        </p:nvGrpSpPr>
        <p:grpSpPr>
          <a:xfrm>
            <a:off x="499872" y="374904"/>
            <a:ext cx="2157984" cy="433618"/>
            <a:chOff x="398463" y="404813"/>
            <a:chExt cx="1627187" cy="307976"/>
          </a:xfrm>
          <a:solidFill>
            <a:schemeClr val="tx1"/>
          </a:solidFill>
        </p:grpSpPr>
        <p:sp>
          <p:nvSpPr>
            <p:cNvPr id="20" name="Oval 5">
              <a:extLst>
                <a:ext uri="{FF2B5EF4-FFF2-40B4-BE49-F238E27FC236}">
                  <a16:creationId xmlns:a16="http://schemas.microsoft.com/office/drawing/2014/main" id="{A5F7E585-5CEF-4FFA-89EF-D9265E6029CF}"/>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a:extLst>
                <a:ext uri="{FF2B5EF4-FFF2-40B4-BE49-F238E27FC236}">
                  <a16:creationId xmlns:a16="http://schemas.microsoft.com/office/drawing/2014/main" id="{3DC462BE-63C3-4480-B3A3-57DE5D4AA99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a:extLst>
                <a:ext uri="{FF2B5EF4-FFF2-40B4-BE49-F238E27FC236}">
                  <a16:creationId xmlns:a16="http://schemas.microsoft.com/office/drawing/2014/main" id="{F13B2900-A194-473D-BF56-F01E90775751}"/>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a:extLst>
                <a:ext uri="{FF2B5EF4-FFF2-40B4-BE49-F238E27FC236}">
                  <a16:creationId xmlns:a16="http://schemas.microsoft.com/office/drawing/2014/main" id="{938A152D-4761-4736-A930-A9D76CAE413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a:extLst>
                <a:ext uri="{FF2B5EF4-FFF2-40B4-BE49-F238E27FC236}">
                  <a16:creationId xmlns:a16="http://schemas.microsoft.com/office/drawing/2014/main" id="{DC9136C3-8FF3-4D33-A1FF-10A7064A374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a:extLst>
                <a:ext uri="{FF2B5EF4-FFF2-40B4-BE49-F238E27FC236}">
                  <a16:creationId xmlns:a16="http://schemas.microsoft.com/office/drawing/2014/main" id="{9CCDEF24-564B-46A6-9198-5499D85C6293}"/>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a:extLst>
                <a:ext uri="{FF2B5EF4-FFF2-40B4-BE49-F238E27FC236}">
                  <a16:creationId xmlns:a16="http://schemas.microsoft.com/office/drawing/2014/main" id="{7C000B3D-4888-40B3-9FF8-B106A0CFB89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a:extLst>
                <a:ext uri="{FF2B5EF4-FFF2-40B4-BE49-F238E27FC236}">
                  <a16:creationId xmlns:a16="http://schemas.microsoft.com/office/drawing/2014/main" id="{44959E63-B3ED-49DF-A8FD-E41E5DB0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a:extLst>
                <a:ext uri="{FF2B5EF4-FFF2-40B4-BE49-F238E27FC236}">
                  <a16:creationId xmlns:a16="http://schemas.microsoft.com/office/drawing/2014/main" id="{4D95E0BC-E5B3-4FB7-BF47-0E17ED079784}"/>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a:extLst>
                <a:ext uri="{FF2B5EF4-FFF2-40B4-BE49-F238E27FC236}">
                  <a16:creationId xmlns:a16="http://schemas.microsoft.com/office/drawing/2014/main" id="{6393EB03-7B14-4CF7-9983-D69E8DDBAF8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7" name="Picture Placeholder 8">
            <a:extLst>
              <a:ext uri="{FF2B5EF4-FFF2-40B4-BE49-F238E27FC236}">
                <a16:creationId xmlns:a16="http://schemas.microsoft.com/office/drawing/2014/main" id="{73FB6E01-79A9-4D8A-90FB-CEBA31B2C91F}"/>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18" name="Text Placeholder 4">
            <a:extLst>
              <a:ext uri="{FF2B5EF4-FFF2-40B4-BE49-F238E27FC236}">
                <a16:creationId xmlns:a16="http://schemas.microsoft.com/office/drawing/2014/main" id="{E17A0E16-EC98-4400-89E2-29944FCCD07A}"/>
              </a:ext>
            </a:extLst>
          </p:cNvPr>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30" name="Title 1">
            <a:extLst>
              <a:ext uri="{FF2B5EF4-FFF2-40B4-BE49-F238E27FC236}">
                <a16:creationId xmlns:a16="http://schemas.microsoft.com/office/drawing/2014/main" id="{994E2337-5D5B-4E47-921E-AEAC709870FD}"/>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dirty="0"/>
              <a:t>Click to edit Master title style</a:t>
            </a:r>
          </a:p>
        </p:txBody>
      </p:sp>
    </p:spTree>
    <p:extLst>
      <p:ext uri="{BB962C8B-B14F-4D97-AF65-F5344CB8AC3E}">
        <p14:creationId xmlns:p14="http://schemas.microsoft.com/office/powerpoint/2010/main" val="24349093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4375958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70779312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41787053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8" name="Rectangle 17">
            <a:extLst>
              <a:ext uri="{FF2B5EF4-FFF2-40B4-BE49-F238E27FC236}">
                <a16:creationId xmlns:a16="http://schemas.microsoft.com/office/drawing/2014/main" id="{6851A0EB-D562-4133-821C-868DF7D906A8}"/>
              </a:ext>
            </a:extLst>
          </p:cNvPr>
          <p:cNvSpPr/>
          <p:nvPr userDrawn="1"/>
        </p:nvSpPr>
        <p:spPr>
          <a:xfrm>
            <a:off x="527051"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19" name="Rectangle 18">
            <a:extLst>
              <a:ext uri="{FF2B5EF4-FFF2-40B4-BE49-F238E27FC236}">
                <a16:creationId xmlns:a16="http://schemas.microsoft.com/office/drawing/2014/main" id="{E82B4FFE-1EC0-4D08-BD41-7024B21C30C6}"/>
              </a:ext>
            </a:extLst>
          </p:cNvPr>
          <p:cNvSpPr/>
          <p:nvPr userDrawn="1"/>
        </p:nvSpPr>
        <p:spPr>
          <a:xfrm>
            <a:off x="6192000"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0" name="Rectangle 19">
            <a:extLst>
              <a:ext uri="{FF2B5EF4-FFF2-40B4-BE49-F238E27FC236}">
                <a16:creationId xmlns:a16="http://schemas.microsoft.com/office/drawing/2014/main" id="{B7C900A0-E613-4896-BF1E-D5ED5D171B0A}"/>
              </a:ext>
            </a:extLst>
          </p:cNvPr>
          <p:cNvSpPr/>
          <p:nvPr userDrawn="1"/>
        </p:nvSpPr>
        <p:spPr>
          <a:xfrm>
            <a:off x="527051"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21" name="Rectangle 20">
            <a:extLst>
              <a:ext uri="{FF2B5EF4-FFF2-40B4-BE49-F238E27FC236}">
                <a16:creationId xmlns:a16="http://schemas.microsoft.com/office/drawing/2014/main" id="{806C0A0A-3804-4608-A278-A17458C88F9A}"/>
              </a:ext>
            </a:extLst>
          </p:cNvPr>
          <p:cNvSpPr/>
          <p:nvPr userDrawn="1"/>
        </p:nvSpPr>
        <p:spPr>
          <a:xfrm>
            <a:off x="6192000"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Tree>
    <p:extLst>
      <p:ext uri="{BB962C8B-B14F-4D97-AF65-F5344CB8AC3E}">
        <p14:creationId xmlns:p14="http://schemas.microsoft.com/office/powerpoint/2010/main" val="311804919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15286864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594360"/>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0" name="Rectangle 9">
            <a:extLst>
              <a:ext uri="{FF2B5EF4-FFF2-40B4-BE49-F238E27FC236}">
                <a16:creationId xmlns:a16="http://schemas.microsoft.com/office/drawing/2014/main" id="{90BE69B8-2102-46F2-ACE2-A3AE169847E3}"/>
              </a:ext>
            </a:extLst>
          </p:cNvPr>
          <p:cNvSpPr/>
          <p:nvPr userDrawn="1"/>
        </p:nvSpPr>
        <p:spPr>
          <a:xfrm>
            <a:off x="527051" y="171172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1" name="Rectangle 10">
            <a:extLst>
              <a:ext uri="{FF2B5EF4-FFF2-40B4-BE49-F238E27FC236}">
                <a16:creationId xmlns:a16="http://schemas.microsoft.com/office/drawing/2014/main" id="{05F45226-3F6D-4B54-9A06-12554AF3CA38}"/>
              </a:ext>
            </a:extLst>
          </p:cNvPr>
          <p:cNvSpPr/>
          <p:nvPr userDrawn="1"/>
        </p:nvSpPr>
        <p:spPr>
          <a:xfrm>
            <a:off x="6214110" y="171172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Tree>
    <p:extLst>
      <p:ext uri="{BB962C8B-B14F-4D97-AF65-F5344CB8AC3E}">
        <p14:creationId xmlns:p14="http://schemas.microsoft.com/office/powerpoint/2010/main" val="403409520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594360"/>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345027478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594360"/>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6046883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594360"/>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8932116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81561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0809606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48388595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4230915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012936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5529307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36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374649644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36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41380375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ey statement blue">
    <p:bg>
      <p:bgPr>
        <a:solidFill>
          <a:schemeClr val="accent3"/>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36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6219171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36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27139414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4934" y="1628775"/>
            <a:ext cx="9129087" cy="4678730"/>
          </a:xfrm>
          <a:prstGeom prst="rect">
            <a:avLst/>
          </a:prstGeom>
        </p:spPr>
        <p:txBody>
          <a:bodyPr>
            <a:normAutofit/>
          </a:bodyPr>
          <a:lstStyle>
            <a:lvl1pPr>
              <a:spcBef>
                <a:spcPts val="3600"/>
              </a:spcBef>
              <a:defRPr sz="36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a:t>Click to edit Master text styles</a:t>
            </a:r>
          </a:p>
        </p:txBody>
      </p:sp>
    </p:spTree>
    <p:extLst>
      <p:ext uri="{BB962C8B-B14F-4D97-AF65-F5344CB8AC3E}">
        <p14:creationId xmlns:p14="http://schemas.microsoft.com/office/powerpoint/2010/main" val="286796685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2920" y="320040"/>
            <a:ext cx="11132495"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5" name="Picture Placeholder 9"/>
          <p:cNvSpPr>
            <a:spLocks noGrp="1"/>
          </p:cNvSpPr>
          <p:nvPr>
            <p:ph type="pic" sz="quarter" idx="15"/>
          </p:nvPr>
        </p:nvSpPr>
        <p:spPr>
          <a:xfrm>
            <a:off x="5151744" y="1701800"/>
            <a:ext cx="6515323" cy="4679950"/>
          </a:xfrm>
        </p:spPr>
        <p:txBody>
          <a:bodyPr/>
          <a:lstStyle/>
          <a:p>
            <a:endParaRPr lang="en-US" dirty="0"/>
          </a:p>
        </p:txBody>
      </p:sp>
      <p:sp>
        <p:nvSpPr>
          <p:cNvPr id="6" name="Content Placeholder 3"/>
          <p:cNvSpPr>
            <a:spLocks noGrp="1"/>
          </p:cNvSpPr>
          <p:nvPr>
            <p:ph sz="quarter" idx="10"/>
          </p:nvPr>
        </p:nvSpPr>
        <p:spPr>
          <a:xfrm>
            <a:off x="502920" y="1700213"/>
            <a:ext cx="4083067"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8" name="TextBox 7"/>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2802346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476866606"/>
      </p:ext>
    </p:extLst>
  </p:cSld>
  <p:clrMapOvr>
    <a:overrideClrMapping bg1="lt1" tx1="dk1" bg2="lt2" tx2="dk2" accent1="accent1" accent2="accent2" accent3="accent3" accent4="accent4" accent5="accent5" accent6="accent6" hlink="hlink" folHlink="folHlink"/>
  </p:clrMapOvr>
  <p:transition>
    <p:fade/>
  </p:transition>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4" name="Text Placeholder 18"/>
          <p:cNvSpPr>
            <a:spLocks noGrp="1"/>
          </p:cNvSpPr>
          <p:nvPr>
            <p:ph idx="1"/>
          </p:nvPr>
        </p:nvSpPr>
        <p:spPr>
          <a:xfrm>
            <a:off x="502920" y="1700213"/>
            <a:ext cx="11139067" cy="4681538"/>
          </a:xfrm>
          <a:prstGeom prst="rect">
            <a:avLst/>
          </a:prstGeom>
        </p:spPr>
        <p:txBody>
          <a:bodyPr vert="horz" lIns="0" tIns="0" rIns="0" bIns="0" rtlCol="0">
            <a:normAutofit/>
          </a:bodyPr>
          <a:lstStyle>
            <a:lvl1pPr>
              <a:defRPr sz="1300"/>
            </a:lvl1pPr>
            <a:lvl2pPr>
              <a:defRPr sz="1300"/>
            </a:lvl2pPr>
            <a:lvl3pPr>
              <a:defRPr sz="1300"/>
            </a:lvl3pPr>
            <a:lvl4pPr>
              <a:defRPr sz="1300"/>
            </a:lvl4pPr>
            <a:lvl5pPr>
              <a:defRPr sz="1300"/>
            </a:lvl5pPr>
            <a:lvl6pPr>
              <a:defRPr sz="13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250537492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2920" y="320040"/>
            <a:ext cx="11136000" cy="469492"/>
          </a:xfrm>
          <a:prstGeom prst="rect">
            <a:avLst/>
          </a:prstGeom>
        </p:spPr>
        <p:txBody>
          <a:bodyPr vert="horz" lIns="0" tIns="0" rIns="0" bIns="0" rtlCol="0" anchor="t" anchorCtr="0">
            <a:noAutofit/>
          </a:bodyPr>
          <a:lstStyle>
            <a:lvl1pPr>
              <a:defRPr/>
            </a:lvl1pPr>
          </a:lstStyle>
          <a:p>
            <a:endParaRPr lang="en-US" dirty="0"/>
          </a:p>
        </p:txBody>
      </p:sp>
      <p:sp>
        <p:nvSpPr>
          <p:cNvPr id="8" name="Text Placeholder 18"/>
          <p:cNvSpPr>
            <a:spLocks noGrp="1"/>
          </p:cNvSpPr>
          <p:nvPr>
            <p:ph idx="1"/>
          </p:nvPr>
        </p:nvSpPr>
        <p:spPr>
          <a:xfrm>
            <a:off x="499853" y="1700213"/>
            <a:ext cx="11139067" cy="4678986"/>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290238752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2920" y="295683"/>
            <a:ext cx="11136000" cy="469492"/>
          </a:xfrm>
          <a:prstGeom prst="rect">
            <a:avLst/>
          </a:prstGeom>
        </p:spPr>
        <p:txBody>
          <a:bodyPr vert="horz" lIns="0" tIns="0" rIns="0" bIns="0" rtlCol="0" anchor="t" anchorCtr="0">
            <a:noAutofit/>
          </a:bodyPr>
          <a:lstStyle>
            <a:lvl1pPr>
              <a:defRPr/>
            </a:lvl1pPr>
          </a:lstStyle>
          <a:p>
            <a:endParaRPr lang="en-US" dirty="0"/>
          </a:p>
        </p:txBody>
      </p:sp>
      <p:sp>
        <p:nvSpPr>
          <p:cNvPr id="8" name="Text Placeholder 18"/>
          <p:cNvSpPr>
            <a:spLocks noGrp="1"/>
          </p:cNvSpPr>
          <p:nvPr>
            <p:ph idx="1"/>
          </p:nvPr>
        </p:nvSpPr>
        <p:spPr>
          <a:xfrm>
            <a:off x="502920" y="1700213"/>
            <a:ext cx="11142133"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406226083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2920" y="2051999"/>
            <a:ext cx="3522776" cy="4069014"/>
          </a:xfrm>
          <a:prstGeom prst="rect">
            <a:avLst/>
          </a:prstGeom>
        </p:spPr>
        <p:txBody>
          <a:bodyPr/>
          <a:lstStyle/>
          <a:p>
            <a:endParaRPr lang="en-GB" dirty="0"/>
          </a:p>
        </p:txBody>
      </p:sp>
      <p:sp>
        <p:nvSpPr>
          <p:cNvPr id="18" name="Text Placeholder 8"/>
          <p:cNvSpPr>
            <a:spLocks noGrp="1"/>
          </p:cNvSpPr>
          <p:nvPr>
            <p:ph type="body" sz="quarter" idx="18"/>
          </p:nvPr>
        </p:nvSpPr>
        <p:spPr>
          <a:xfrm>
            <a:off x="502920" y="1700214"/>
            <a:ext cx="3537600" cy="357187"/>
          </a:xfrm>
        </p:spPr>
        <p:txBody>
          <a:bodyPr/>
          <a:lstStyle/>
          <a:p>
            <a:pPr lvl="0"/>
            <a:r>
              <a:rPr lang="en-US" dirty="0"/>
              <a:t>Click to edit Master text styles</a:t>
            </a:r>
          </a:p>
        </p:txBody>
      </p:sp>
      <p:sp>
        <p:nvSpPr>
          <p:cNvPr id="7" name="Chart Placeholder 3"/>
          <p:cNvSpPr>
            <a:spLocks noGrp="1"/>
          </p:cNvSpPr>
          <p:nvPr>
            <p:ph type="chart" sz="quarter" idx="19"/>
          </p:nvPr>
        </p:nvSpPr>
        <p:spPr>
          <a:xfrm>
            <a:off x="4327200" y="2051999"/>
            <a:ext cx="35376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4327199" y="1700214"/>
            <a:ext cx="3537600" cy="357187"/>
          </a:xfrm>
        </p:spPr>
        <p:txBody>
          <a:bodyPr/>
          <a:lstStyle/>
          <a:p>
            <a:pPr lvl="0"/>
            <a:r>
              <a:rPr lang="en-US" dirty="0"/>
              <a:t>Click to edit Master text styles</a:t>
            </a:r>
          </a:p>
        </p:txBody>
      </p:sp>
      <p:sp>
        <p:nvSpPr>
          <p:cNvPr id="9" name="Chart Placeholder 3"/>
          <p:cNvSpPr>
            <a:spLocks noGrp="1"/>
          </p:cNvSpPr>
          <p:nvPr>
            <p:ph type="chart" sz="quarter" idx="21"/>
          </p:nvPr>
        </p:nvSpPr>
        <p:spPr>
          <a:xfrm>
            <a:off x="8144286" y="2051999"/>
            <a:ext cx="3522781" cy="4069014"/>
          </a:xfrm>
          <a:prstGeom prst="rect">
            <a:avLst/>
          </a:prstGeom>
        </p:spPr>
        <p:txBody>
          <a:bodyPr/>
          <a:lstStyle/>
          <a:p>
            <a:endParaRPr lang="en-GB" dirty="0"/>
          </a:p>
        </p:txBody>
      </p:sp>
      <p:sp>
        <p:nvSpPr>
          <p:cNvPr id="10" name="Text Placeholder 8"/>
          <p:cNvSpPr>
            <a:spLocks noGrp="1"/>
          </p:cNvSpPr>
          <p:nvPr>
            <p:ph type="body" sz="quarter" idx="22"/>
          </p:nvPr>
        </p:nvSpPr>
        <p:spPr>
          <a:xfrm>
            <a:off x="8126397" y="1700214"/>
            <a:ext cx="3540671" cy="357187"/>
          </a:xfrm>
        </p:spPr>
        <p:txBody>
          <a:bodyPr/>
          <a:lstStyle/>
          <a:p>
            <a:pPr lvl="0"/>
            <a:r>
              <a:rPr lang="en-US" dirty="0"/>
              <a:t>Click to edit Master text styles</a:t>
            </a:r>
          </a:p>
        </p:txBody>
      </p:sp>
      <p:sp>
        <p:nvSpPr>
          <p:cNvPr id="12"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147886191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2920" y="295683"/>
            <a:ext cx="11177091"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2920" y="651600"/>
            <a:ext cx="1117709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2920" y="1700213"/>
            <a:ext cx="5282296"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15" name="Content Placeholder 3"/>
          <p:cNvSpPr>
            <a:spLocks noGrp="1"/>
          </p:cNvSpPr>
          <p:nvPr>
            <p:ph sz="quarter" idx="20"/>
          </p:nvPr>
        </p:nvSpPr>
        <p:spPr>
          <a:xfrm>
            <a:off x="6381539" y="1700213"/>
            <a:ext cx="5285527"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Tree>
    <p:extLst>
      <p:ext uri="{BB962C8B-B14F-4D97-AF65-F5344CB8AC3E}">
        <p14:creationId xmlns:p14="http://schemas.microsoft.com/office/powerpoint/2010/main" val="188683660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2920" y="1700213"/>
            <a:ext cx="5282296" cy="4681537"/>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13" name="Content Placeholder 3"/>
          <p:cNvSpPr>
            <a:spLocks noGrp="1"/>
          </p:cNvSpPr>
          <p:nvPr>
            <p:ph sz="quarter" idx="20"/>
          </p:nvPr>
        </p:nvSpPr>
        <p:spPr>
          <a:xfrm>
            <a:off x="6384000" y="1700213"/>
            <a:ext cx="5283067" cy="4681536"/>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Tree>
    <p:extLst>
      <p:ext uri="{BB962C8B-B14F-4D97-AF65-F5344CB8AC3E}">
        <p14:creationId xmlns:p14="http://schemas.microsoft.com/office/powerpoint/2010/main" val="91753430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700213"/>
            <a:ext cx="5280000" cy="442080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3" name="Chart Placeholder 2"/>
          <p:cNvSpPr>
            <a:spLocks noGrp="1"/>
          </p:cNvSpPr>
          <p:nvPr>
            <p:ph type="chart" sz="quarter" idx="21"/>
          </p:nvPr>
        </p:nvSpPr>
        <p:spPr>
          <a:xfrm>
            <a:off x="6341223" y="2125013"/>
            <a:ext cx="5325844" cy="3996000"/>
          </a:xfrm>
        </p:spPr>
        <p:txBody>
          <a:bodyPr/>
          <a:lstStyle/>
          <a:p>
            <a:endParaRPr lang="en-GB" dirty="0"/>
          </a:p>
        </p:txBody>
      </p:sp>
      <p:sp>
        <p:nvSpPr>
          <p:cNvPr id="6" name="Text Placeholder 5"/>
          <p:cNvSpPr>
            <a:spLocks noGrp="1"/>
          </p:cNvSpPr>
          <p:nvPr>
            <p:ph type="body" sz="quarter" idx="22"/>
          </p:nvPr>
        </p:nvSpPr>
        <p:spPr>
          <a:xfrm>
            <a:off x="6341223" y="1700213"/>
            <a:ext cx="5319272" cy="385762"/>
          </a:xfrm>
        </p:spPr>
        <p:txBody>
          <a:bodyPr/>
          <a:lstStyle/>
          <a:p>
            <a:pPr lvl="0"/>
            <a:r>
              <a:rPr lang="en-US" dirty="0"/>
              <a:t>Click to edit Master text styles</a:t>
            </a:r>
          </a:p>
        </p:txBody>
      </p:sp>
      <p:sp>
        <p:nvSpPr>
          <p:cNvPr id="11" name="Text Placeholder 8"/>
          <p:cNvSpPr>
            <a:spLocks noGrp="1"/>
          </p:cNvSpPr>
          <p:nvPr>
            <p:ph type="body" sz="quarter" idx="13" hasCustomPrompt="1"/>
          </p:nvPr>
        </p:nvSpPr>
        <p:spPr>
          <a:xfrm>
            <a:off x="52800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28000" y="295683"/>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Tree>
    <p:extLst>
      <p:ext uri="{BB962C8B-B14F-4D97-AF65-F5344CB8AC3E}">
        <p14:creationId xmlns:p14="http://schemas.microsoft.com/office/powerpoint/2010/main" val="377526336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38155" y="2125013"/>
            <a:ext cx="5325845" cy="3996000"/>
          </a:xfrm>
        </p:spPr>
        <p:txBody>
          <a:bodyPr/>
          <a:lstStyle/>
          <a:p>
            <a:endParaRPr lang="en-GB" dirty="0"/>
          </a:p>
        </p:txBody>
      </p:sp>
      <p:sp>
        <p:nvSpPr>
          <p:cNvPr id="6" name="Text Placeholder 5"/>
          <p:cNvSpPr>
            <a:spLocks noGrp="1"/>
          </p:cNvSpPr>
          <p:nvPr>
            <p:ph type="body" sz="quarter" idx="22"/>
          </p:nvPr>
        </p:nvSpPr>
        <p:spPr>
          <a:xfrm>
            <a:off x="6338157" y="1700213"/>
            <a:ext cx="5325844" cy="385762"/>
          </a:xfrm>
        </p:spPr>
        <p:txBody>
          <a:bodyPr/>
          <a:lstStyle/>
          <a:p>
            <a:pPr lvl="0"/>
            <a:r>
              <a:rPr lang="en-US" dirty="0"/>
              <a:t>Click to edit Master text styles</a:t>
            </a:r>
          </a:p>
        </p:txBody>
      </p:sp>
      <p:sp>
        <p:nvSpPr>
          <p:cNvPr id="11"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2920" y="6121014"/>
            <a:ext cx="11145627" cy="256647"/>
          </a:xfrm>
        </p:spPr>
        <p:txBody>
          <a:bodyPr>
            <a:normAutofit/>
          </a:bodyPr>
          <a:lstStyle>
            <a:lvl1pPr>
              <a:spcAft>
                <a:spcPts val="0"/>
              </a:spcAft>
              <a:defRPr sz="900"/>
            </a:lvl1pPr>
          </a:lstStyle>
          <a:p>
            <a:pPr lvl="0"/>
            <a:r>
              <a:rPr lang="en-US" dirty="0"/>
              <a:t>Click to edit Master text styles</a:t>
            </a:r>
          </a:p>
        </p:txBody>
      </p:sp>
      <p:sp>
        <p:nvSpPr>
          <p:cNvPr id="9" name="Chart Placeholder 2"/>
          <p:cNvSpPr>
            <a:spLocks noGrp="1"/>
          </p:cNvSpPr>
          <p:nvPr>
            <p:ph type="chart" sz="quarter" idx="24"/>
          </p:nvPr>
        </p:nvSpPr>
        <p:spPr>
          <a:xfrm>
            <a:off x="502920" y="2125013"/>
            <a:ext cx="5316825" cy="3996000"/>
          </a:xfrm>
        </p:spPr>
        <p:txBody>
          <a:bodyPr/>
          <a:lstStyle/>
          <a:p>
            <a:endParaRPr lang="en-GB" dirty="0"/>
          </a:p>
        </p:txBody>
      </p:sp>
      <p:sp>
        <p:nvSpPr>
          <p:cNvPr id="12" name="Text Placeholder 5"/>
          <p:cNvSpPr>
            <a:spLocks noGrp="1"/>
          </p:cNvSpPr>
          <p:nvPr>
            <p:ph type="body" sz="quarter" idx="25"/>
          </p:nvPr>
        </p:nvSpPr>
        <p:spPr>
          <a:xfrm>
            <a:off x="502920" y="1700213"/>
            <a:ext cx="5319272" cy="385762"/>
          </a:xfrm>
        </p:spPr>
        <p:txBody>
          <a:bodyPr/>
          <a:lstStyle/>
          <a:p>
            <a:pPr lvl="0"/>
            <a:r>
              <a:rPr lang="en-US" dirty="0"/>
              <a:t>Click to edit Master text styles</a:t>
            </a:r>
          </a:p>
        </p:txBody>
      </p:sp>
    </p:spTree>
    <p:extLst>
      <p:ext uri="{BB962C8B-B14F-4D97-AF65-F5344CB8AC3E}">
        <p14:creationId xmlns:p14="http://schemas.microsoft.com/office/powerpoint/2010/main" val="376187323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2920" y="320040"/>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2920" y="1700213"/>
            <a:ext cx="4351867"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8" name="Content Placeholder 3"/>
          <p:cNvSpPr>
            <a:spLocks noGrp="1"/>
          </p:cNvSpPr>
          <p:nvPr>
            <p:ph sz="quarter" idx="16"/>
          </p:nvPr>
        </p:nvSpPr>
        <p:spPr>
          <a:xfrm>
            <a:off x="5172687" y="1700213"/>
            <a:ext cx="649438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9"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5827585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2920" y="320040"/>
            <a:ext cx="11153884" cy="112908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3" y="1700213"/>
            <a:ext cx="4089184" cy="4681539"/>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a:t>Click to edit Master text styles</a:t>
            </a:r>
          </a:p>
        </p:txBody>
      </p:sp>
      <p:sp>
        <p:nvSpPr>
          <p:cNvPr id="8" name="Content Placeholder 3"/>
          <p:cNvSpPr>
            <a:spLocks noGrp="1"/>
          </p:cNvSpPr>
          <p:nvPr>
            <p:ph sz="quarter" idx="16"/>
          </p:nvPr>
        </p:nvSpPr>
        <p:spPr>
          <a:xfrm>
            <a:off x="502920" y="1700212"/>
            <a:ext cx="6483065" cy="4681538"/>
          </a:xfrm>
          <a:prstGeom prst="rect">
            <a:avLst/>
          </a:prstGeom>
        </p:spPr>
        <p:txBody>
          <a:bodyPr>
            <a:normAutofit/>
          </a:bodyPr>
          <a:lstStyle>
            <a:lvl1pPr>
              <a:tabLst>
                <a:tab pos="5029200" algn="r"/>
              </a:tabLst>
              <a:defRPr sz="1300"/>
            </a:lvl1pPr>
            <a:lvl2pPr>
              <a:tabLst>
                <a:tab pos="5029200" algn="r"/>
              </a:tabLst>
              <a:defRPr sz="1300"/>
            </a:lvl2pPr>
            <a:lvl3pPr>
              <a:tabLst>
                <a:tab pos="5029200" algn="r"/>
              </a:tabLst>
              <a:defRPr sz="1300"/>
            </a:lvl3pPr>
            <a:lvl4pPr>
              <a:tabLst>
                <a:tab pos="5029200" algn="r"/>
              </a:tabLst>
              <a:defRPr sz="1300"/>
            </a:lvl4pPr>
            <a:lvl5pPr>
              <a:tabLst>
                <a:tab pos="5029200" algn="r"/>
              </a:tabLst>
              <a:defRPr baseline="0"/>
            </a:lvl5pPr>
            <a:lvl6pPr>
              <a:defRPr sz="1300"/>
            </a:lvl6pPr>
            <a:lvl7pPr>
              <a:defRPr sz="1300"/>
            </a:lvl7pPr>
            <a:lvl8pPr>
              <a:defRPr sz="1300"/>
            </a:lvl8pPr>
            <a:lvl9pPr>
              <a:defRPr sz="13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5"/>
            <a:r>
              <a:rPr lang="en-US" dirty="0"/>
              <a:t>Fifth level</a:t>
            </a:r>
          </a:p>
          <a:p>
            <a:pPr lvl="6"/>
            <a:r>
              <a:rPr lang="en-US" dirty="0"/>
              <a:t>Sixth level</a:t>
            </a:r>
          </a:p>
          <a:p>
            <a:pPr lvl="7"/>
            <a:r>
              <a:rPr lang="en-US" dirty="0"/>
              <a:t>Seventh level</a:t>
            </a:r>
          </a:p>
          <a:p>
            <a:pPr lvl="8"/>
            <a:r>
              <a:rPr lang="en-US" dirty="0"/>
              <a:t>Eighth level</a:t>
            </a:r>
          </a:p>
          <a:p>
            <a:pPr lvl="8"/>
            <a:r>
              <a:rPr lang="en-US" dirty="0"/>
              <a:t>Ninth level</a:t>
            </a:r>
          </a:p>
        </p:txBody>
      </p:sp>
      <p:sp>
        <p:nvSpPr>
          <p:cNvPr id="9"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34945322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rmAutofit/>
          </a:bodyPr>
          <a:lstStyle>
            <a:lvl1pPr>
              <a:spcBef>
                <a:spcPts val="185"/>
              </a:spcBef>
              <a:defRPr sz="1100">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dirty="0"/>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1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dirty="0"/>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6" name="Group 15">
            <a:extLst>
              <a:ext uri="{FF2B5EF4-FFF2-40B4-BE49-F238E27FC236}">
                <a16:creationId xmlns:a16="http://schemas.microsoft.com/office/drawing/2014/main" id="{7D68FAB3-EABF-4320-B9BA-9896BCA68071}"/>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C6362851-9A0E-4F83-B626-033D6630D990}"/>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01DEF734-DA79-48A7-B7F1-FBE644C4FC0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DC23A6B1-DB16-4B5A-9638-C43EE3425643}"/>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1694ED90-5F08-4EFD-881E-CBA4F3E9EE8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0FC58980-2BC4-47C6-8B72-01C8280B271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7D68918B-CDFF-4C18-96AA-655E53356D43}"/>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8A394C8D-E8D1-4A83-8363-E27F08B6800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199BBF5B-49D4-4C67-A3C8-6BE844C8A2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83130F57-7F1E-413D-9CF7-6423E392944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2AB32745-5253-4E4C-879D-B36795A6410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935213964"/>
      </p:ext>
    </p:extLst>
  </p:cSld>
  <p:clrMapOvr>
    <a:masterClrMapping/>
  </p:clrMapOvr>
  <p:transition>
    <p:fade/>
  </p:transition>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2920" y="317501"/>
            <a:ext cx="11188700" cy="309820"/>
          </a:xfrm>
        </p:spPr>
        <p:txBody>
          <a:bodyPr/>
          <a:lstStyle/>
          <a:p>
            <a:r>
              <a:rPr lang="en-US" dirty="0"/>
              <a:t>Click to edit Master title style</a:t>
            </a:r>
            <a:endParaRPr lang="en-GB" dirty="0"/>
          </a:p>
        </p:txBody>
      </p:sp>
      <p:sp>
        <p:nvSpPr>
          <p:cNvPr id="4" name="Picture Placeholder 6"/>
          <p:cNvSpPr>
            <a:spLocks noGrp="1"/>
          </p:cNvSpPr>
          <p:nvPr>
            <p:ph type="pic" sz="quarter" idx="13"/>
          </p:nvPr>
        </p:nvSpPr>
        <p:spPr>
          <a:xfrm>
            <a:off x="502920" y="1700213"/>
            <a:ext cx="2712000" cy="1260000"/>
          </a:xfrm>
        </p:spPr>
        <p:txBody>
          <a:bodyPr lIns="0" tIns="0" rIns="0" bIns="0">
            <a:noAutofit/>
          </a:bodyPr>
          <a:lstStyle/>
          <a:p>
            <a:r>
              <a:rPr lang="en-US" dirty="0"/>
              <a:t>Click icon to add picture</a:t>
            </a:r>
            <a:endParaRPr lang="en-GB" dirty="0"/>
          </a:p>
        </p:txBody>
      </p:sp>
      <p:sp>
        <p:nvSpPr>
          <p:cNvPr id="5" name="Picture Placeholder 6"/>
          <p:cNvSpPr>
            <a:spLocks noGrp="1"/>
          </p:cNvSpPr>
          <p:nvPr>
            <p:ph type="pic" sz="quarter" idx="14"/>
          </p:nvPr>
        </p:nvSpPr>
        <p:spPr>
          <a:xfrm>
            <a:off x="3336000" y="1700213"/>
            <a:ext cx="2712000" cy="1260000"/>
          </a:xfrm>
        </p:spPr>
        <p:txBody>
          <a:bodyPr lIns="0" tIns="0" rIns="0" bIns="0">
            <a:noAutofit/>
          </a:bodyPr>
          <a:lstStyle/>
          <a:p>
            <a:r>
              <a:rPr lang="en-US" dirty="0"/>
              <a:t>Click icon to add picture</a:t>
            </a:r>
            <a:endParaRPr lang="en-GB" dirty="0"/>
          </a:p>
        </p:txBody>
      </p:sp>
      <p:sp>
        <p:nvSpPr>
          <p:cNvPr id="6" name="Picture Placeholder 6"/>
          <p:cNvSpPr>
            <a:spLocks noGrp="1"/>
          </p:cNvSpPr>
          <p:nvPr>
            <p:ph type="pic" sz="quarter" idx="15"/>
          </p:nvPr>
        </p:nvSpPr>
        <p:spPr>
          <a:xfrm>
            <a:off x="6143147" y="1700213"/>
            <a:ext cx="2712000" cy="1260000"/>
          </a:xfrm>
        </p:spPr>
        <p:txBody>
          <a:bodyPr lIns="0" tIns="0" rIns="0" bIns="0">
            <a:noAutofit/>
          </a:bodyPr>
          <a:lstStyle/>
          <a:p>
            <a:r>
              <a:rPr lang="en-US" dirty="0"/>
              <a:t>Click icon to add picture</a:t>
            </a:r>
            <a:endParaRPr lang="en-GB" dirty="0"/>
          </a:p>
        </p:txBody>
      </p:sp>
      <p:sp>
        <p:nvSpPr>
          <p:cNvPr id="7" name="Picture Placeholder 6"/>
          <p:cNvSpPr>
            <a:spLocks noGrp="1"/>
          </p:cNvSpPr>
          <p:nvPr>
            <p:ph type="pic" sz="quarter" idx="16"/>
          </p:nvPr>
        </p:nvSpPr>
        <p:spPr>
          <a:xfrm>
            <a:off x="8951999" y="1700213"/>
            <a:ext cx="2712000" cy="1260000"/>
          </a:xfrm>
        </p:spPr>
        <p:txBody>
          <a:bodyPr lIns="0" tIns="0" rIns="0" bIns="0">
            <a:noAutofit/>
          </a:bodyPr>
          <a:lstStyle/>
          <a:p>
            <a:r>
              <a:rPr lang="en-US" dirty="0"/>
              <a:t>Click icon to add picture</a:t>
            </a:r>
            <a:endParaRPr lang="en-GB" dirty="0"/>
          </a:p>
        </p:txBody>
      </p:sp>
      <p:sp>
        <p:nvSpPr>
          <p:cNvPr id="9" name="Text Placeholder 8"/>
          <p:cNvSpPr>
            <a:spLocks noGrp="1"/>
          </p:cNvSpPr>
          <p:nvPr>
            <p:ph type="body" sz="quarter" idx="17"/>
          </p:nvPr>
        </p:nvSpPr>
        <p:spPr>
          <a:xfrm>
            <a:off x="502920" y="3124200"/>
            <a:ext cx="2697184"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Text Placeholder 8"/>
          <p:cNvSpPr>
            <a:spLocks noGrp="1"/>
          </p:cNvSpPr>
          <p:nvPr>
            <p:ph type="body" sz="quarter" idx="20"/>
          </p:nvPr>
        </p:nvSpPr>
        <p:spPr>
          <a:xfrm>
            <a:off x="8969885" y="3108510"/>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3" name="Text Placeholder 8"/>
          <p:cNvSpPr>
            <a:spLocks noGrp="1"/>
          </p:cNvSpPr>
          <p:nvPr>
            <p:ph type="body" sz="quarter" idx="21"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660597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4" name="Rectangle 3"/>
          <p:cNvSpPr/>
          <p:nvPr userDrawn="1"/>
        </p:nvSpPr>
        <p:spPr>
          <a:xfrm>
            <a:off x="50292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6192000"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50292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userDrawn="1"/>
        </p:nvSpPr>
        <p:spPr>
          <a:xfrm>
            <a:off x="6192000"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502920" y="1880213"/>
            <a:ext cx="1968000" cy="1476000"/>
          </a:xfrm>
        </p:spPr>
        <p:txBody>
          <a:bodyPr/>
          <a:lstStyle>
            <a:lvl1pPr>
              <a:defRPr/>
            </a:lvl1pPr>
          </a:lstStyle>
          <a:p>
            <a:r>
              <a:rPr lang="en-GB" dirty="0"/>
              <a:t>Click icon to add picture</a:t>
            </a:r>
          </a:p>
        </p:txBody>
      </p:sp>
      <p:sp>
        <p:nvSpPr>
          <p:cNvPr id="9" name="Picture Placeholder 11"/>
          <p:cNvSpPr>
            <a:spLocks noGrp="1"/>
          </p:cNvSpPr>
          <p:nvPr>
            <p:ph type="pic" sz="quarter" idx="27"/>
          </p:nvPr>
        </p:nvSpPr>
        <p:spPr>
          <a:xfrm>
            <a:off x="6192000" y="1880213"/>
            <a:ext cx="1968000" cy="1476000"/>
          </a:xfrm>
        </p:spPr>
        <p:txBody>
          <a:bodyPr/>
          <a:lstStyle>
            <a:lvl1pPr>
              <a:defRPr/>
            </a:lvl1pPr>
          </a:lstStyle>
          <a:p>
            <a:r>
              <a:rPr lang="en-GB" dirty="0"/>
              <a:t>Click icon to add picture</a:t>
            </a:r>
          </a:p>
        </p:txBody>
      </p:sp>
      <p:sp>
        <p:nvSpPr>
          <p:cNvPr id="10" name="Picture Placeholder 11"/>
          <p:cNvSpPr>
            <a:spLocks noGrp="1"/>
          </p:cNvSpPr>
          <p:nvPr>
            <p:ph type="pic" sz="quarter" idx="29"/>
          </p:nvPr>
        </p:nvSpPr>
        <p:spPr>
          <a:xfrm>
            <a:off x="502920" y="4256213"/>
            <a:ext cx="1968000" cy="1476000"/>
          </a:xfrm>
        </p:spPr>
        <p:txBody>
          <a:bodyPr/>
          <a:lstStyle>
            <a:lvl1pPr>
              <a:defRPr/>
            </a:lvl1pPr>
          </a:lstStyle>
          <a:p>
            <a:r>
              <a:rPr lang="en-GB" dirty="0"/>
              <a:t>Click icon to add picture</a:t>
            </a:r>
          </a:p>
        </p:txBody>
      </p:sp>
      <p:sp>
        <p:nvSpPr>
          <p:cNvPr id="11" name="Picture Placeholder 11"/>
          <p:cNvSpPr>
            <a:spLocks noGrp="1"/>
          </p:cNvSpPr>
          <p:nvPr>
            <p:ph type="pic" sz="quarter" idx="31"/>
          </p:nvPr>
        </p:nvSpPr>
        <p:spPr>
          <a:xfrm>
            <a:off x="6192000" y="4256213"/>
            <a:ext cx="1968000" cy="1476000"/>
          </a:xfrm>
        </p:spPr>
        <p:txBody>
          <a:bodyPr/>
          <a:lstStyle>
            <a:lvl1pPr>
              <a:defRPr/>
            </a:lvl1pPr>
          </a:lstStyle>
          <a:p>
            <a:r>
              <a:rPr lang="en-GB" dirty="0"/>
              <a:t>Click icon to add picture</a:t>
            </a:r>
          </a:p>
        </p:txBody>
      </p:sp>
      <p:sp>
        <p:nvSpPr>
          <p:cNvPr id="13" name="Text Placeholder 12"/>
          <p:cNvSpPr>
            <a:spLocks noGrp="1"/>
          </p:cNvSpPr>
          <p:nvPr>
            <p:ph type="body" sz="quarter" idx="32"/>
          </p:nvPr>
        </p:nvSpPr>
        <p:spPr>
          <a:xfrm>
            <a:off x="2699525" y="1880213"/>
            <a:ext cx="3288000" cy="1944000"/>
          </a:xfrm>
        </p:spPr>
        <p:txBody>
          <a:bodyPr/>
          <a:lstStyle>
            <a:lvl1pPr>
              <a:spcAft>
                <a:spcPts val="0"/>
              </a:spcAft>
              <a:defRPr b="1">
                <a:latin typeface="+mj-lt"/>
              </a:defRPr>
            </a:lvl1pPr>
            <a:lvl2pPr>
              <a:spcAft>
                <a:spcPts val="0"/>
              </a:spcAft>
              <a:defRPr b="0"/>
            </a:lvl2pPr>
          </a:lstStyle>
          <a:p>
            <a:pPr lvl="0"/>
            <a:r>
              <a:rPr lang="en-US" dirty="0"/>
              <a:t>Click to edit Master text styles</a:t>
            </a:r>
          </a:p>
          <a:p>
            <a:pPr lvl="1"/>
            <a:r>
              <a:rPr lang="en-US" dirty="0"/>
              <a:t>Second level</a:t>
            </a:r>
          </a:p>
        </p:txBody>
      </p:sp>
      <p:sp>
        <p:nvSpPr>
          <p:cNvPr id="14" name="Text Placeholder 12"/>
          <p:cNvSpPr>
            <a:spLocks noGrp="1"/>
          </p:cNvSpPr>
          <p:nvPr>
            <p:ph type="body" sz="quarter" idx="33"/>
          </p:nvPr>
        </p:nvSpPr>
        <p:spPr>
          <a:xfrm>
            <a:off x="8364475" y="1880213"/>
            <a:ext cx="3302592" cy="1944000"/>
          </a:xfrm>
        </p:spPr>
        <p:txBody>
          <a:bodyPr/>
          <a:lstStyle>
            <a:lvl1pPr>
              <a:spcAft>
                <a:spcPts val="0"/>
              </a:spcAft>
              <a:defRPr b="1">
                <a:latin typeface="+mj-lt"/>
              </a:defRPr>
            </a:lvl1pPr>
            <a:lvl2pPr>
              <a:spcAft>
                <a:spcPts val="0"/>
              </a:spcAft>
              <a:defRPr b="0"/>
            </a:lvl2pPr>
          </a:lstStyle>
          <a:p>
            <a:pPr lvl="0"/>
            <a:r>
              <a:rPr lang="en-US" dirty="0"/>
              <a:t>Click to edit Master text styles</a:t>
            </a:r>
          </a:p>
          <a:p>
            <a:pPr lvl="1"/>
            <a:r>
              <a:rPr lang="en-US" dirty="0"/>
              <a:t>Second level</a:t>
            </a:r>
          </a:p>
        </p:txBody>
      </p:sp>
      <p:sp>
        <p:nvSpPr>
          <p:cNvPr id="15" name="Text Placeholder 12"/>
          <p:cNvSpPr>
            <a:spLocks noGrp="1"/>
          </p:cNvSpPr>
          <p:nvPr>
            <p:ph type="body" sz="quarter" idx="34"/>
          </p:nvPr>
        </p:nvSpPr>
        <p:spPr>
          <a:xfrm>
            <a:off x="2699525" y="4256213"/>
            <a:ext cx="3288000" cy="1944000"/>
          </a:xfrm>
        </p:spPr>
        <p:txBody>
          <a:bodyPr/>
          <a:lstStyle>
            <a:lvl1pPr>
              <a:spcAft>
                <a:spcPts val="0"/>
              </a:spcAft>
              <a:defRPr b="1">
                <a:latin typeface="+mj-lt"/>
              </a:defRPr>
            </a:lvl1pPr>
            <a:lvl2pPr>
              <a:spcAft>
                <a:spcPts val="0"/>
              </a:spcAft>
              <a:defRPr b="0"/>
            </a:lvl2pPr>
          </a:lstStyle>
          <a:p>
            <a:pPr lvl="0"/>
            <a:r>
              <a:rPr lang="en-US" dirty="0"/>
              <a:t>Click to edit Master text styles</a:t>
            </a:r>
          </a:p>
          <a:p>
            <a:pPr lvl="1"/>
            <a:r>
              <a:rPr lang="en-US" dirty="0"/>
              <a:t>Second level</a:t>
            </a:r>
          </a:p>
        </p:txBody>
      </p:sp>
      <p:sp>
        <p:nvSpPr>
          <p:cNvPr id="16" name="Text Placeholder 12"/>
          <p:cNvSpPr>
            <a:spLocks noGrp="1"/>
          </p:cNvSpPr>
          <p:nvPr>
            <p:ph type="body" sz="quarter" idx="35"/>
          </p:nvPr>
        </p:nvSpPr>
        <p:spPr>
          <a:xfrm>
            <a:off x="8364475" y="4256213"/>
            <a:ext cx="3302592" cy="1944000"/>
          </a:xfrm>
        </p:spPr>
        <p:txBody>
          <a:bodyPr/>
          <a:lstStyle>
            <a:lvl1pPr>
              <a:spcAft>
                <a:spcPts val="0"/>
              </a:spcAft>
              <a:defRPr b="1">
                <a:latin typeface="+mj-lt"/>
              </a:defRPr>
            </a:lvl1pPr>
            <a:lvl2pPr>
              <a:spcAft>
                <a:spcPts val="0"/>
              </a:spcAft>
              <a:defRPr b="0"/>
            </a:lvl2pPr>
          </a:lstStyle>
          <a:p>
            <a:pPr lvl="0"/>
            <a:r>
              <a:rPr lang="en-US" dirty="0"/>
              <a:t>Click to edit Master text styles</a:t>
            </a:r>
          </a:p>
          <a:p>
            <a:pPr lvl="1"/>
            <a:r>
              <a:rPr lang="en-US" dirty="0"/>
              <a:t>Second level</a:t>
            </a:r>
          </a:p>
        </p:txBody>
      </p:sp>
      <p:sp>
        <p:nvSpPr>
          <p:cNvPr id="17"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11734205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4" name="Picture Placeholder 7"/>
          <p:cNvSpPr>
            <a:spLocks noGrp="1"/>
          </p:cNvSpPr>
          <p:nvPr>
            <p:ph type="pic" sz="quarter" idx="13"/>
          </p:nvPr>
        </p:nvSpPr>
        <p:spPr>
          <a:xfrm>
            <a:off x="502920" y="1700214"/>
            <a:ext cx="3672417" cy="1971675"/>
          </a:xfrm>
        </p:spPr>
        <p:txBody>
          <a:bodyPr/>
          <a:lstStyle/>
          <a:p>
            <a:r>
              <a:rPr lang="en-US" dirty="0"/>
              <a:t>Click icon to add picture</a:t>
            </a:r>
            <a:endParaRPr lang="en-GB" dirty="0"/>
          </a:p>
        </p:txBody>
      </p:sp>
      <p:sp>
        <p:nvSpPr>
          <p:cNvPr id="5" name="Picture Placeholder 7"/>
          <p:cNvSpPr>
            <a:spLocks noGrp="1"/>
          </p:cNvSpPr>
          <p:nvPr>
            <p:ph type="pic" sz="quarter" idx="14"/>
          </p:nvPr>
        </p:nvSpPr>
        <p:spPr>
          <a:xfrm>
            <a:off x="8006398" y="1700214"/>
            <a:ext cx="3660668" cy="1971675"/>
          </a:xfrm>
        </p:spPr>
        <p:txBody>
          <a:bodyPr/>
          <a:lstStyle/>
          <a:p>
            <a:r>
              <a:rPr lang="en-US" dirty="0"/>
              <a:t>Click icon to add picture</a:t>
            </a:r>
            <a:endParaRPr lang="en-GB" dirty="0"/>
          </a:p>
        </p:txBody>
      </p:sp>
      <p:sp>
        <p:nvSpPr>
          <p:cNvPr id="6" name="Picture Placeholder 7"/>
          <p:cNvSpPr>
            <a:spLocks noGrp="1"/>
          </p:cNvSpPr>
          <p:nvPr>
            <p:ph type="pic" sz="quarter" idx="15"/>
          </p:nvPr>
        </p:nvSpPr>
        <p:spPr>
          <a:xfrm>
            <a:off x="4273075" y="1700214"/>
            <a:ext cx="3657600" cy="1971675"/>
          </a:xfrm>
        </p:spPr>
        <p:txBody>
          <a:bodyPr/>
          <a:lstStyle/>
          <a:p>
            <a:r>
              <a:rPr lang="en-US" dirty="0"/>
              <a:t>Click icon to add picture</a:t>
            </a:r>
            <a:endParaRPr lang="en-GB" dirty="0"/>
          </a:p>
        </p:txBody>
      </p:sp>
      <p:sp>
        <p:nvSpPr>
          <p:cNvPr id="9" name="Text Placeholder 18"/>
          <p:cNvSpPr>
            <a:spLocks noGrp="1"/>
          </p:cNvSpPr>
          <p:nvPr>
            <p:ph idx="1" hasCustomPrompt="1"/>
          </p:nvPr>
        </p:nvSpPr>
        <p:spPr>
          <a:xfrm>
            <a:off x="502920" y="3832225"/>
            <a:ext cx="36576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8"/>
          <p:cNvSpPr>
            <a:spLocks noGrp="1"/>
          </p:cNvSpPr>
          <p:nvPr>
            <p:ph idx="17" hasCustomPrompt="1"/>
          </p:nvPr>
        </p:nvSpPr>
        <p:spPr>
          <a:xfrm>
            <a:off x="8006398" y="3832225"/>
            <a:ext cx="3660668" cy="2095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8"/>
          <p:cNvSpPr>
            <a:spLocks noGrp="1"/>
          </p:cNvSpPr>
          <p:nvPr>
            <p:ph type="body" sz="quarter" idx="18"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4155581831"/>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7611240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 Placeholder 8"/>
          <p:cNvSpPr>
            <a:spLocks noGrp="1"/>
          </p:cNvSpPr>
          <p:nvPr>
            <p:ph type="body" sz="quarter" idx="21"/>
          </p:nvPr>
        </p:nvSpPr>
        <p:spPr>
          <a:xfrm>
            <a:off x="6214110"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a:t>Click to edit Master title style</a:t>
            </a:r>
            <a:endParaRPr lang="en-GB"/>
          </a:p>
        </p:txBody>
      </p:sp>
      <p:sp>
        <p:nvSpPr>
          <p:cNvPr id="4" name="Rectangle 3"/>
          <p:cNvSpPr/>
          <p:nvPr userDrawn="1"/>
        </p:nvSpPr>
        <p:spPr>
          <a:xfrm>
            <a:off x="502920" y="171172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6214110" y="171172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4783669"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65755645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ext Placeholder 8"/>
          <p:cNvSpPr>
            <a:spLocks noGrp="1"/>
          </p:cNvSpPr>
          <p:nvPr>
            <p:ph type="body" sz="quarter" idx="21"/>
          </p:nvPr>
        </p:nvSpPr>
        <p:spPr>
          <a:xfrm>
            <a:off x="6214110"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 name="Title 1"/>
          <p:cNvSpPr>
            <a:spLocks noGrp="1"/>
          </p:cNvSpPr>
          <p:nvPr>
            <p:ph type="title"/>
          </p:nvPr>
        </p:nvSpPr>
        <p:spPr/>
        <p:txBody>
          <a:bodyPr/>
          <a:lstStyle/>
          <a:p>
            <a:r>
              <a:rPr lang="en-US" dirty="0"/>
              <a:t>Click to edit Master title style</a:t>
            </a:r>
            <a:endParaRPr lang="en-GB" dirty="0"/>
          </a:p>
        </p:txBody>
      </p:sp>
      <p:sp>
        <p:nvSpPr>
          <p:cNvPr id="4" name="Rectangle 3"/>
          <p:cNvSpPr/>
          <p:nvPr userDrawn="1"/>
        </p:nvSpPr>
        <p:spPr>
          <a:xfrm>
            <a:off x="502920" y="171172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6214110" y="171172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4783669"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292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 Placeholder 8"/>
          <p:cNvSpPr>
            <a:spLocks noGrp="1"/>
          </p:cNvSpPr>
          <p:nvPr>
            <p:ph type="body" sz="quarter" idx="23"/>
          </p:nvPr>
        </p:nvSpPr>
        <p:spPr>
          <a:xfrm>
            <a:off x="6214109"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2" name="Rectangle 11"/>
          <p:cNvSpPr/>
          <p:nvPr userDrawn="1"/>
        </p:nvSpPr>
        <p:spPr>
          <a:xfrm>
            <a:off x="502920"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userDrawn="1"/>
        </p:nvSpPr>
        <p:spPr>
          <a:xfrm>
            <a:off x="6214109"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326277412"/>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Rectangle 3"/>
          <p:cNvSpPr/>
          <p:nvPr userDrawn="1"/>
        </p:nvSpPr>
        <p:spPr>
          <a:xfrm>
            <a:off x="4320001" y="1705968"/>
            <a:ext cx="354057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502920" y="1700214"/>
            <a:ext cx="3525761"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8141308" y="1705968"/>
            <a:ext cx="352576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Text Placeholder 8"/>
          <p:cNvSpPr>
            <a:spLocks noGrp="1"/>
          </p:cNvSpPr>
          <p:nvPr>
            <p:ph type="body" sz="quarter" idx="17"/>
          </p:nvPr>
        </p:nvSpPr>
        <p:spPr>
          <a:xfrm>
            <a:off x="4325712" y="1784680"/>
            <a:ext cx="3540577" cy="3914258"/>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8" name="Text Placeholder 8"/>
          <p:cNvSpPr>
            <a:spLocks noGrp="1"/>
          </p:cNvSpPr>
          <p:nvPr>
            <p:ph type="body" sz="quarter" idx="18"/>
          </p:nvPr>
        </p:nvSpPr>
        <p:spPr>
          <a:xfrm>
            <a:off x="502920" y="1784680"/>
            <a:ext cx="3522693" cy="3914258"/>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9" name="Text Placeholder 8"/>
          <p:cNvSpPr>
            <a:spLocks noGrp="1"/>
          </p:cNvSpPr>
          <p:nvPr>
            <p:ph type="body" sz="quarter" idx="19"/>
          </p:nvPr>
        </p:nvSpPr>
        <p:spPr>
          <a:xfrm>
            <a:off x="8141307" y="1784680"/>
            <a:ext cx="3525760" cy="3914258"/>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01224228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4" name="Text Placeholder 8"/>
          <p:cNvSpPr>
            <a:spLocks noGrp="1"/>
          </p:cNvSpPr>
          <p:nvPr>
            <p:ph type="body" sz="quarter" idx="17"/>
          </p:nvPr>
        </p:nvSpPr>
        <p:spPr>
          <a:xfrm>
            <a:off x="502920" y="2556000"/>
            <a:ext cx="2544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Text Placeholder 8"/>
          <p:cNvSpPr>
            <a:spLocks noGrp="1"/>
          </p:cNvSpPr>
          <p:nvPr>
            <p:ph type="body" sz="quarter" idx="18"/>
          </p:nvPr>
        </p:nvSpPr>
        <p:spPr>
          <a:xfrm>
            <a:off x="9120000" y="2556000"/>
            <a:ext cx="2547067"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Text Placeholder 8"/>
          <p:cNvSpPr>
            <a:spLocks noGrp="1"/>
          </p:cNvSpPr>
          <p:nvPr>
            <p:ph type="body" sz="quarter" idx="19"/>
          </p:nvPr>
        </p:nvSpPr>
        <p:spPr>
          <a:xfrm>
            <a:off x="3392000" y="2556000"/>
            <a:ext cx="2544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Text Placeholder 8"/>
          <p:cNvSpPr>
            <a:spLocks noGrp="1"/>
          </p:cNvSpPr>
          <p:nvPr>
            <p:ph type="body" sz="quarter" idx="20"/>
          </p:nvPr>
        </p:nvSpPr>
        <p:spPr>
          <a:xfrm>
            <a:off x="6256000" y="2556000"/>
            <a:ext cx="2544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176049630"/>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endParaRPr lang="en-GB" dirty="0"/>
          </a:p>
        </p:txBody>
      </p:sp>
      <p:sp>
        <p:nvSpPr>
          <p:cNvPr id="4" name="Text Placeholder 8"/>
          <p:cNvSpPr>
            <a:spLocks noGrp="1"/>
          </p:cNvSpPr>
          <p:nvPr>
            <p:ph type="body" sz="quarter" idx="17"/>
          </p:nvPr>
        </p:nvSpPr>
        <p:spPr>
          <a:xfrm>
            <a:off x="502920" y="2556000"/>
            <a:ext cx="2544000" cy="3394800"/>
          </a:xfrm>
        </p:spPr>
        <p:txBody>
          <a:bodyPr/>
          <a:lstStyle>
            <a:lvl1pPr>
              <a:defRPr b="1">
                <a:solidFill>
                  <a:schemeClr val="tx1"/>
                </a:solidFill>
                <a:latin typeface="+mj-lt"/>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Text Placeholder 8"/>
          <p:cNvSpPr>
            <a:spLocks noGrp="1"/>
          </p:cNvSpPr>
          <p:nvPr>
            <p:ph type="body" sz="quarter" idx="18"/>
          </p:nvPr>
        </p:nvSpPr>
        <p:spPr>
          <a:xfrm>
            <a:off x="9120000" y="2556000"/>
            <a:ext cx="2547067" cy="3394800"/>
          </a:xfrm>
        </p:spPr>
        <p:txBody>
          <a:bodyPr/>
          <a:lstStyle>
            <a:lvl1pPr>
              <a:defRPr b="1">
                <a:solidFill>
                  <a:schemeClr val="tx1"/>
                </a:solidFill>
                <a:latin typeface="+mj-lt"/>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Text Placeholder 8"/>
          <p:cNvSpPr>
            <a:spLocks noGrp="1"/>
          </p:cNvSpPr>
          <p:nvPr>
            <p:ph type="body" sz="quarter" idx="19"/>
          </p:nvPr>
        </p:nvSpPr>
        <p:spPr>
          <a:xfrm>
            <a:off x="3392000" y="2556000"/>
            <a:ext cx="2544000" cy="3394800"/>
          </a:xfrm>
        </p:spPr>
        <p:txBody>
          <a:bodyPr/>
          <a:lstStyle>
            <a:lvl1pPr>
              <a:defRPr b="1">
                <a:solidFill>
                  <a:schemeClr val="tx1"/>
                </a:solidFill>
                <a:latin typeface="+mj-lt"/>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7" name="Text Placeholder 8"/>
          <p:cNvSpPr>
            <a:spLocks noGrp="1"/>
          </p:cNvSpPr>
          <p:nvPr>
            <p:ph type="body" sz="quarter" idx="20"/>
          </p:nvPr>
        </p:nvSpPr>
        <p:spPr>
          <a:xfrm>
            <a:off x="6256000" y="2556000"/>
            <a:ext cx="2544000" cy="3394800"/>
          </a:xfrm>
        </p:spPr>
        <p:txBody>
          <a:bodyPr/>
          <a:lstStyle>
            <a:lvl1pPr>
              <a:defRPr b="1">
                <a:solidFill>
                  <a:schemeClr val="tx1"/>
                </a:solidFill>
                <a:latin typeface="+mj-lt"/>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chemeClr val="tx1"/>
                </a:solidFill>
              </a:defRPr>
            </a:lvl1pPr>
          </a:lstStyle>
          <a:p>
            <a:pPr lvl="0"/>
            <a:r>
              <a:rPr lang="en-US" dirty="0"/>
              <a:t>Click to add subtitle</a:t>
            </a:r>
          </a:p>
        </p:txBody>
      </p:sp>
      <p:sp>
        <p:nvSpPr>
          <p:cNvPr id="9" name="TextBox 8"/>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77679546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2920" y="651600"/>
            <a:ext cx="111360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2920" y="320040"/>
            <a:ext cx="1113600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2920" y="1700213"/>
            <a:ext cx="5568000" cy="46815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268422413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2695547607"/>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Copyright">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rcRect/>
          <a:stretch/>
        </p:blipFill>
        <p:spPr>
          <a:xfrm>
            <a:off x="497550" y="454266"/>
            <a:ext cx="1998000" cy="370708"/>
          </a:xfrm>
          <a:prstGeom prst="rect">
            <a:avLst/>
          </a:prstGeom>
        </p:spPr>
      </p:pic>
      <p:sp>
        <p:nvSpPr>
          <p:cNvPr id="15" name="Text Box 15"/>
          <p:cNvSpPr txBox="1">
            <a:spLocks noChangeArrowheads="1"/>
          </p:cNvSpPr>
          <p:nvPr userDrawn="1"/>
        </p:nvSpPr>
        <p:spPr bwMode="auto">
          <a:xfrm>
            <a:off x="414013" y="4303599"/>
            <a:ext cx="6709212" cy="18399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83531" tIns="41765" rIns="83531" bIns="41765">
            <a:spAutoFit/>
          </a:bodyPr>
          <a:lstStyle>
            <a:lvl1pPr defTabSz="1016000" eaLnBrk="0" hangingPunct="0">
              <a:defRPr sz="2000">
                <a:solidFill>
                  <a:schemeClr val="tx1"/>
                </a:solidFill>
                <a:latin typeface="Arial" charset="0"/>
                <a:cs typeface="Arial" charset="0"/>
              </a:defRPr>
            </a:lvl1pPr>
            <a:lvl2pPr marL="742950" indent="-285750" defTabSz="1016000" eaLnBrk="0" hangingPunct="0">
              <a:defRPr sz="2000">
                <a:solidFill>
                  <a:schemeClr val="tx1"/>
                </a:solidFill>
                <a:latin typeface="Arial" charset="0"/>
                <a:cs typeface="Arial" charset="0"/>
              </a:defRPr>
            </a:lvl2pPr>
            <a:lvl3pPr marL="1143000" indent="-228600" defTabSz="1016000" eaLnBrk="0" hangingPunct="0">
              <a:defRPr sz="2000">
                <a:solidFill>
                  <a:schemeClr val="tx1"/>
                </a:solidFill>
                <a:latin typeface="Arial" charset="0"/>
                <a:cs typeface="Arial" charset="0"/>
              </a:defRPr>
            </a:lvl3pPr>
            <a:lvl4pPr marL="1600200" indent="-228600" defTabSz="1016000" eaLnBrk="0" hangingPunct="0">
              <a:defRPr sz="2000">
                <a:solidFill>
                  <a:schemeClr val="tx1"/>
                </a:solidFill>
                <a:latin typeface="Arial" charset="0"/>
                <a:cs typeface="Arial" charset="0"/>
              </a:defRPr>
            </a:lvl4pPr>
            <a:lvl5pPr marL="2057400" indent="-228600" defTabSz="1016000" eaLnBrk="0" hangingPunct="0">
              <a:defRPr sz="2000">
                <a:solidFill>
                  <a:schemeClr val="tx1"/>
                </a:solidFill>
                <a:latin typeface="Arial" charset="0"/>
                <a:cs typeface="Arial" charset="0"/>
              </a:defRPr>
            </a:lvl5pPr>
            <a:lvl6pPr marL="2514600" indent="-228600" defTabSz="1016000" eaLnBrk="0" fontAlgn="base" hangingPunct="0">
              <a:spcBef>
                <a:spcPct val="0"/>
              </a:spcBef>
              <a:spcAft>
                <a:spcPct val="0"/>
              </a:spcAft>
              <a:defRPr sz="2000">
                <a:solidFill>
                  <a:schemeClr val="tx1"/>
                </a:solidFill>
                <a:latin typeface="Arial" charset="0"/>
                <a:cs typeface="Arial" charset="0"/>
              </a:defRPr>
            </a:lvl6pPr>
            <a:lvl7pPr marL="2971800" indent="-228600" defTabSz="1016000" eaLnBrk="0" fontAlgn="base" hangingPunct="0">
              <a:spcBef>
                <a:spcPct val="0"/>
              </a:spcBef>
              <a:spcAft>
                <a:spcPct val="0"/>
              </a:spcAft>
              <a:defRPr sz="2000">
                <a:solidFill>
                  <a:schemeClr val="tx1"/>
                </a:solidFill>
                <a:latin typeface="Arial" charset="0"/>
                <a:cs typeface="Arial" charset="0"/>
              </a:defRPr>
            </a:lvl7pPr>
            <a:lvl8pPr marL="3429000" indent="-228600" defTabSz="1016000" eaLnBrk="0" fontAlgn="base" hangingPunct="0">
              <a:spcBef>
                <a:spcPct val="0"/>
              </a:spcBef>
              <a:spcAft>
                <a:spcPct val="0"/>
              </a:spcAft>
              <a:defRPr sz="2000">
                <a:solidFill>
                  <a:schemeClr val="tx1"/>
                </a:solidFill>
                <a:latin typeface="Arial" charset="0"/>
                <a:cs typeface="Arial" charset="0"/>
              </a:defRPr>
            </a:lvl8pPr>
            <a:lvl9pPr marL="3886200" indent="-228600" defTabSz="1016000" eaLnBrk="0" fontAlgn="base" hangingPunct="0">
              <a:spcBef>
                <a:spcPct val="0"/>
              </a:spcBef>
              <a:spcAft>
                <a:spcPct val="0"/>
              </a:spcAft>
              <a:defRPr sz="2000">
                <a:solidFill>
                  <a:schemeClr val="tx1"/>
                </a:solidFill>
                <a:latin typeface="Arial" charset="0"/>
                <a:cs typeface="Arial" charset="0"/>
              </a:defRPr>
            </a:lvl9pPr>
          </a:lstStyle>
          <a:p>
            <a:pPr defTabSz="957770" eaLnBrk="1" hangingPunct="1">
              <a:defRPr/>
            </a:pPr>
            <a:r>
              <a:rPr lang="en-US" sz="779" kern="0" dirty="0">
                <a:solidFill>
                  <a:schemeClr val="bg1"/>
                </a:solidFill>
                <a:latin typeface="+mn-lt"/>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com/about for a more detailed description of DTTL and its member firms.  </a:t>
            </a:r>
          </a:p>
          <a:p>
            <a:pPr defTabSz="957770" eaLnBrk="1" hangingPunct="1">
              <a:defRPr/>
            </a:pPr>
            <a:endParaRPr lang="en-US" sz="779" kern="0" dirty="0">
              <a:solidFill>
                <a:schemeClr val="bg1"/>
              </a:solidFill>
              <a:latin typeface="+mn-lt"/>
            </a:endParaRPr>
          </a:p>
          <a:p>
            <a:pPr defTabSz="957770" eaLnBrk="1" hangingPunct="1">
              <a:defRPr/>
            </a:pPr>
            <a:r>
              <a:rPr lang="en-GB" sz="779" kern="0" dirty="0">
                <a:solidFill>
                  <a:schemeClr val="bg1"/>
                </a:solidFill>
                <a:latin typeface="+mn-lt"/>
              </a:rPr>
              <a:t>Deloitte &amp; Touche, a member firm of Deloitte Touche Tohmatsu Limited, is a professional services organization that provides audit, tax, consulting, business process-as-a-service, corporate finance, and risk advisory services.</a:t>
            </a:r>
          </a:p>
          <a:p>
            <a:pPr defTabSz="957770" eaLnBrk="1" hangingPunct="1">
              <a:defRPr/>
            </a:pPr>
            <a:endParaRPr lang="en-US" sz="779" kern="0" dirty="0">
              <a:solidFill>
                <a:schemeClr val="bg1"/>
              </a:solidFill>
              <a:latin typeface="+mn-lt"/>
            </a:endParaRPr>
          </a:p>
          <a:p>
            <a:pPr defTabSz="957770">
              <a:defRPr/>
            </a:pPr>
            <a:r>
              <a:rPr lang="en-US" sz="779" kern="0" dirty="0">
                <a:solidFill>
                  <a:schemeClr val="bg1"/>
                </a:solidFill>
                <a:latin typeface="+mn-lt"/>
              </a:rPr>
              <a:t>Deloitte provides audit, tax, consulting, and financial advisory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more than 312,000 professionals are committed to becoming the standard of excellence.</a:t>
            </a:r>
          </a:p>
          <a:p>
            <a:pPr defTabSz="957770">
              <a:defRPr/>
            </a:pPr>
            <a:endParaRPr lang="en-GB" sz="779" kern="0" dirty="0">
              <a:solidFill>
                <a:schemeClr val="bg1"/>
              </a:solidFill>
              <a:latin typeface="+mn-lt"/>
            </a:endParaRPr>
          </a:p>
          <a:p>
            <a:pPr defTabSz="957770" eaLnBrk="1" hangingPunct="1">
              <a:spcAft>
                <a:spcPts val="550"/>
              </a:spcAft>
              <a:defRPr/>
            </a:pPr>
            <a:r>
              <a:rPr lang="en-US" sz="779" kern="0" dirty="0">
                <a:solidFill>
                  <a:schemeClr val="bg1"/>
                </a:solidFill>
                <a:latin typeface="+mn-lt"/>
              </a:rPr>
              <a:t>© 2022. For information, contact Deloitte &amp; Touche. </a:t>
            </a:r>
            <a:r>
              <a:rPr lang="en-GB" sz="779" kern="0" dirty="0">
                <a:solidFill>
                  <a:schemeClr val="bg1"/>
                </a:solidFill>
                <a:latin typeface="+mn-lt"/>
              </a:rPr>
              <a:t>All </a:t>
            </a:r>
            <a:r>
              <a:rPr lang="en-US" sz="779" kern="0" dirty="0">
                <a:solidFill>
                  <a:schemeClr val="bg1"/>
                </a:solidFill>
                <a:latin typeface="+mn-lt"/>
              </a:rPr>
              <a:t>rights reserved.</a:t>
            </a:r>
            <a:endParaRPr lang="en-GB" sz="779" kern="0" dirty="0">
              <a:solidFill>
                <a:schemeClr val="bg1"/>
              </a:solidFill>
              <a:latin typeface="+mn-lt"/>
            </a:endParaRPr>
          </a:p>
          <a:p>
            <a:pPr defTabSz="957770" eaLnBrk="1" hangingPunct="1">
              <a:defRPr/>
            </a:pPr>
            <a:r>
              <a:rPr lang="en-GB" sz="779" b="1" kern="0" dirty="0">
                <a:solidFill>
                  <a:schemeClr val="bg1"/>
                </a:solidFill>
                <a:latin typeface="+mn-lt"/>
              </a:rPr>
              <a:t>       </a:t>
            </a:r>
          </a:p>
          <a:p>
            <a:pPr defTabSz="957770" eaLnBrk="1" hangingPunct="1">
              <a:spcAft>
                <a:spcPts val="550"/>
              </a:spcAft>
              <a:defRPr/>
            </a:pPr>
            <a:r>
              <a:rPr lang="en-GB" sz="779" b="1" kern="0" dirty="0">
                <a:solidFill>
                  <a:schemeClr val="bg1"/>
                </a:solidFill>
                <a:latin typeface="+mn-lt"/>
              </a:rPr>
              <a:t>     </a:t>
            </a:r>
            <a:r>
              <a:rPr lang="en-GB" sz="779" kern="0" dirty="0">
                <a:solidFill>
                  <a:schemeClr val="bg1"/>
                </a:solidFill>
                <a:latin typeface="+mn-lt"/>
              </a:rPr>
              <a:t>www.facebook.com/DeloitteGhana                www.twitter.com/DeloitteGhana</a:t>
            </a:r>
            <a:r>
              <a:rPr lang="en-GB" sz="779" kern="0" dirty="0">
                <a:solidFill>
                  <a:schemeClr val="bg1"/>
                </a:solidFill>
                <a:latin typeface="Verdana" panose="020B0604030504040204" pitchFamily="34" charset="0"/>
              </a:rPr>
              <a:t>	 </a:t>
            </a:r>
            <a:endParaRPr lang="en-US" sz="779" kern="0" dirty="0">
              <a:solidFill>
                <a:schemeClr val="bg1"/>
              </a:solidFill>
              <a:latin typeface="Verdana" panose="020B0604030504040204" pitchFamily="34" charset="0"/>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738711" y="6098492"/>
            <a:ext cx="403183" cy="380096"/>
          </a:xfrm>
          <a:prstGeom prst="rect">
            <a:avLst/>
          </a:prstGeom>
        </p:spPr>
      </p:pic>
      <p:pic>
        <p:nvPicPr>
          <p:cNvPr id="17" name="Picture 1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80633" y="6103031"/>
            <a:ext cx="403183" cy="380096"/>
          </a:xfrm>
          <a:prstGeom prst="rect">
            <a:avLst/>
          </a:prstGeom>
        </p:spPr>
      </p:pic>
      <p:sp>
        <p:nvSpPr>
          <p:cNvPr id="18" name="Rectangle 17"/>
          <p:cNvSpPr/>
          <p:nvPr userDrawn="1"/>
        </p:nvSpPr>
        <p:spPr>
          <a:xfrm>
            <a:off x="414013" y="3897068"/>
            <a:ext cx="5345907" cy="310150"/>
          </a:xfrm>
          <a:prstGeom prst="rect">
            <a:avLst/>
          </a:prstGeom>
        </p:spPr>
        <p:txBody>
          <a:bodyPr>
            <a:spAutoFit/>
          </a:bodyPr>
          <a:lstStyle/>
          <a:p>
            <a:pPr>
              <a:lnSpc>
                <a:spcPct val="107000"/>
              </a:lnSpc>
              <a:spcAft>
                <a:spcPts val="882"/>
              </a:spcAft>
            </a:pPr>
            <a:r>
              <a:rPr lang="en-GB" sz="1323" b="1" dirty="0">
                <a:solidFill>
                  <a:schemeClr val="bg1"/>
                </a:solidFill>
                <a:latin typeface="+mn-lt"/>
                <a:ea typeface="Times New Roman" panose="02020603050405020304" pitchFamily="18" charset="0"/>
                <a:cs typeface="Times New Roman" panose="02020603050405020304" pitchFamily="18" charset="0"/>
              </a:rPr>
              <a:t>www2.deloitte.com/gh</a:t>
            </a:r>
            <a:endParaRPr lang="en-ZA" sz="1323" dirty="0">
              <a:solidFill>
                <a:schemeClr val="bg1"/>
              </a:solidFill>
              <a:effectLst/>
              <a:latin typeface="+mn-l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01778725"/>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dirty="0"/>
              <a:t>Click icon to add picture</a:t>
            </a:r>
          </a:p>
        </p:txBody>
      </p:sp>
      <p:pic>
        <p:nvPicPr>
          <p:cNvPr id="3" name="Picture 2">
            <a:extLst>
              <a:ext uri="{FF2B5EF4-FFF2-40B4-BE49-F238E27FC236}">
                <a16:creationId xmlns:a16="http://schemas.microsoft.com/office/drawing/2014/main" id="{9BBAF194-4CF0-4596-B8D9-496F94B47A10}"/>
              </a:ext>
            </a:extLst>
          </p:cNvPr>
          <p:cNvPicPr>
            <a:picLocks noChangeAspect="1"/>
          </p:cNvPicPr>
          <p:nvPr userDrawn="1"/>
        </p:nvPicPr>
        <p:blipFill>
          <a:blip r:embed="rId2"/>
          <a:srcRect/>
          <a:stretch/>
        </p:blipFill>
        <p:spPr>
          <a:xfrm>
            <a:off x="501650" y="407877"/>
            <a:ext cx="1983036" cy="367931"/>
          </a:xfrm>
          <a:prstGeom prst="rect">
            <a:avLst/>
          </a:prstGeom>
        </p:spPr>
      </p:pic>
    </p:spTree>
    <p:extLst>
      <p:ext uri="{BB962C8B-B14F-4D97-AF65-F5344CB8AC3E}">
        <p14:creationId xmlns:p14="http://schemas.microsoft.com/office/powerpoint/2010/main" val="2607269449"/>
      </p:ext>
    </p:extLst>
  </p:cSld>
  <p:clrMapOvr>
    <a:masterClrMapping/>
  </p:clrMapOvr>
  <p:transition>
    <p:fade/>
  </p:transition>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4934" y="1705670"/>
            <a:ext cx="10517717"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sp>
        <p:nvSpPr>
          <p:cNvPr id="3" name="Text Placeholder 2"/>
          <p:cNvSpPr>
            <a:spLocks noGrp="1"/>
          </p:cNvSpPr>
          <p:nvPr>
            <p:ph type="body" idx="1"/>
          </p:nvPr>
        </p:nvSpPr>
        <p:spPr bwMode="gray">
          <a:xfrm>
            <a:off x="524934"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95103765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37165219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pic>
        <p:nvPicPr>
          <p:cNvPr id="16" name="Picture 15">
            <a:extLst>
              <a:ext uri="{FF2B5EF4-FFF2-40B4-BE49-F238E27FC236}">
                <a16:creationId xmlns:a16="http://schemas.microsoft.com/office/drawing/2014/main" id="{671D8E20-75FB-424D-BC72-4008C3FC4D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51029" y="5024387"/>
            <a:ext cx="1625566" cy="1625566"/>
          </a:xfrm>
          <a:prstGeom prst="rect">
            <a:avLst/>
          </a:prstGeom>
        </p:spPr>
      </p:pic>
      <p:sp>
        <p:nvSpPr>
          <p:cNvPr id="2" name="TextBox 1">
            <a:extLst>
              <a:ext uri="{FF2B5EF4-FFF2-40B4-BE49-F238E27FC236}">
                <a16:creationId xmlns:a16="http://schemas.microsoft.com/office/drawing/2014/main" id="{5D8AB695-C94D-C8AA-B631-CC024BD60743}"/>
              </a:ext>
            </a:extLst>
          </p:cNvPr>
          <p:cNvSpPr txBox="1"/>
          <p:nvPr userDrawn="1"/>
        </p:nvSpPr>
        <p:spPr>
          <a:xfrm>
            <a:off x="475325" y="6570107"/>
            <a:ext cx="11188700"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3. Copyright. All Rights Reserved. For more information,</a:t>
            </a:r>
            <a:r>
              <a:rPr lang="en-US" sz="900" baseline="0" noProof="0">
                <a:solidFill>
                  <a:schemeClr val="tx1"/>
                </a:solidFill>
                <a:latin typeface="Calibri" panose="020F0502020204030204" pitchFamily="34" charset="0"/>
                <a:cs typeface="Calibri" panose="020F0502020204030204" pitchFamily="34" charset="0"/>
              </a:rPr>
              <a:t> contact </a:t>
            </a:r>
            <a:r>
              <a:rPr lang="en-US" sz="900" noProof="0">
                <a:solidFill>
                  <a:schemeClr val="tx1"/>
                </a:solidFill>
                <a:latin typeface="Calibri" panose="020F0502020204030204" pitchFamily="34" charset="0"/>
                <a:cs typeface="Calibri" panose="020F0502020204030204" pitchFamily="34" charset="0"/>
              </a:rPr>
              <a:t>Deloitte Ghana                                                                                                                                                                                                   </a:t>
            </a:r>
            <a:r>
              <a:rPr lang="en-US" sz="900"/>
              <a:t>DSOT| Tax and Regulatory Workshop for NGOs</a:t>
            </a:r>
            <a:r>
              <a:rPr lang="en-US" sz="900" noProof="0">
                <a:solidFill>
                  <a:schemeClr val="tx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3889223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a:t>Click icon to add picture</a:t>
            </a:r>
          </a:p>
        </p:txBody>
      </p:sp>
      <p:grpSp>
        <p:nvGrpSpPr>
          <p:cNvPr id="18" name="Group 17">
            <a:extLst>
              <a:ext uri="{FF2B5EF4-FFF2-40B4-BE49-F238E27FC236}">
                <a16:creationId xmlns:a16="http://schemas.microsoft.com/office/drawing/2014/main" id="{2A695DEC-E9CB-4EE6-B6A0-35EA322D267E}"/>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30" name="Oval 5">
              <a:extLst>
                <a:ext uri="{FF2B5EF4-FFF2-40B4-BE49-F238E27FC236}">
                  <a16:creationId xmlns:a16="http://schemas.microsoft.com/office/drawing/2014/main" id="{156892DF-711C-4336-AEBF-762E1CB7CCD8}"/>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6">
              <a:extLst>
                <a:ext uri="{FF2B5EF4-FFF2-40B4-BE49-F238E27FC236}">
                  <a16:creationId xmlns:a16="http://schemas.microsoft.com/office/drawing/2014/main" id="{654BE607-CC12-452A-95BB-8AEB794BBEF6}"/>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7">
              <a:extLst>
                <a:ext uri="{FF2B5EF4-FFF2-40B4-BE49-F238E27FC236}">
                  <a16:creationId xmlns:a16="http://schemas.microsoft.com/office/drawing/2014/main" id="{AE06DD36-C381-4B3C-86D3-4123CCCA48EE}"/>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Freeform 8">
              <a:extLst>
                <a:ext uri="{FF2B5EF4-FFF2-40B4-BE49-F238E27FC236}">
                  <a16:creationId xmlns:a16="http://schemas.microsoft.com/office/drawing/2014/main" id="{20BC03DC-7852-47B1-9820-005DEBD76BF8}"/>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Rectangle 9">
              <a:extLst>
                <a:ext uri="{FF2B5EF4-FFF2-40B4-BE49-F238E27FC236}">
                  <a16:creationId xmlns:a16="http://schemas.microsoft.com/office/drawing/2014/main" id="{07652C2F-A141-4AB0-9E2F-202CA0F5FB93}"/>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Rectangle 10">
              <a:extLst>
                <a:ext uri="{FF2B5EF4-FFF2-40B4-BE49-F238E27FC236}">
                  <a16:creationId xmlns:a16="http://schemas.microsoft.com/office/drawing/2014/main" id="{5648F6A9-F4A7-4EA4-BEB8-6F1BB21E0FBB}"/>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1">
              <a:extLst>
                <a:ext uri="{FF2B5EF4-FFF2-40B4-BE49-F238E27FC236}">
                  <a16:creationId xmlns:a16="http://schemas.microsoft.com/office/drawing/2014/main" id="{1217BB3C-3B45-4FD5-A1F2-2A4B137E814A}"/>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2">
              <a:extLst>
                <a:ext uri="{FF2B5EF4-FFF2-40B4-BE49-F238E27FC236}">
                  <a16:creationId xmlns:a16="http://schemas.microsoft.com/office/drawing/2014/main" id="{2285CDEF-D8F9-4088-8EFE-11B02C6E1F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8" name="Freeform 13">
              <a:extLst>
                <a:ext uri="{FF2B5EF4-FFF2-40B4-BE49-F238E27FC236}">
                  <a16:creationId xmlns:a16="http://schemas.microsoft.com/office/drawing/2014/main" id="{8B4FB454-2D1E-4839-87E0-3E961CBE461C}"/>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9" name="Freeform 14">
              <a:extLst>
                <a:ext uri="{FF2B5EF4-FFF2-40B4-BE49-F238E27FC236}">
                  <a16:creationId xmlns:a16="http://schemas.microsoft.com/office/drawing/2014/main" id="{95322F62-2CA7-4C72-BE20-8B93945A327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40" name="Title 1">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pic>
        <p:nvPicPr>
          <p:cNvPr id="16" name="Picture 15">
            <a:extLst>
              <a:ext uri="{FF2B5EF4-FFF2-40B4-BE49-F238E27FC236}">
                <a16:creationId xmlns:a16="http://schemas.microsoft.com/office/drawing/2014/main" id="{671D8E20-75FB-424D-BC72-4008C3FC4D1F}"/>
              </a:ext>
            </a:extLst>
          </p:cNvPr>
          <p:cNvPicPr>
            <a:picLocks noChangeAspect="1"/>
          </p:cNvPicPr>
          <p:nvPr userDrawn="1"/>
        </p:nvPicPr>
        <p:blipFill>
          <a:blip r:embed="rId2"/>
          <a:srcRect/>
          <a:stretch/>
        </p:blipFill>
        <p:spPr>
          <a:xfrm>
            <a:off x="10601108" y="5486562"/>
            <a:ext cx="1084673" cy="1146584"/>
          </a:xfrm>
          <a:prstGeom prst="rect">
            <a:avLst/>
          </a:prstGeom>
        </p:spPr>
      </p:pic>
    </p:spTree>
    <p:extLst>
      <p:ext uri="{BB962C8B-B14F-4D97-AF65-F5344CB8AC3E}">
        <p14:creationId xmlns:p14="http://schemas.microsoft.com/office/powerpoint/2010/main" val="219440002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64637081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3845271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F17E80EF-52AF-A297-56EA-F28F335390D6}"/>
              </a:ext>
            </a:extLst>
          </p:cNvPr>
          <p:cNvSpPr txBox="1"/>
          <p:nvPr userDrawn="1"/>
        </p:nvSpPr>
        <p:spPr>
          <a:xfrm>
            <a:off x="477716" y="6555211"/>
            <a:ext cx="11188700"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3. Copyright. All Rights Reserved. For more information,</a:t>
            </a:r>
            <a:r>
              <a:rPr lang="en-US" sz="900" baseline="0" noProof="0">
                <a:solidFill>
                  <a:schemeClr val="tx1"/>
                </a:solidFill>
                <a:latin typeface="Calibri" panose="020F0502020204030204" pitchFamily="34" charset="0"/>
                <a:cs typeface="Calibri" panose="020F0502020204030204" pitchFamily="34" charset="0"/>
              </a:rPr>
              <a:t> contact </a:t>
            </a:r>
            <a:r>
              <a:rPr lang="en-US" sz="900" noProof="0">
                <a:solidFill>
                  <a:schemeClr val="tx1"/>
                </a:solidFill>
                <a:latin typeface="Calibri" panose="020F0502020204030204" pitchFamily="34" charset="0"/>
                <a:cs typeface="Calibri" panose="020F0502020204030204" pitchFamily="34" charset="0"/>
              </a:rPr>
              <a:t>Deloitte Ghana                                                                                                                                                                                                   </a:t>
            </a:r>
            <a:r>
              <a:rPr lang="en-US" sz="900"/>
              <a:t>DSOT| Tax and Regulatory Workshop for NGOs</a:t>
            </a:r>
            <a:r>
              <a:rPr lang="en-US" sz="900" noProof="0">
                <a:solidFill>
                  <a:schemeClr val="tx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090742054"/>
      </p:ext>
    </p:extLst>
  </p:cSld>
  <p:clrMapOvr>
    <a:masterClrMapping/>
  </p:clrMapOvr>
  <p:transition>
    <p:fade/>
  </p:transition>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3974477888"/>
      </p:ext>
    </p:extLst>
  </p:cSld>
  <p:clrMapOvr>
    <a:masterClrMapping/>
  </p:clrMapOvr>
  <p:transition>
    <p:fade/>
  </p:transition>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1"/>
            <a:ext cx="11188700" cy="598080"/>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294949629"/>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17323384"/>
      </p:ext>
    </p:extLst>
  </p:cSld>
  <p:clrMapOvr>
    <a:masterClrMapping/>
  </p:clrMapOvr>
  <p:transition>
    <p:fade/>
  </p:transition>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4623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52563538"/>
      </p:ext>
    </p:extLst>
  </p:cSld>
  <p:clrMapOvr>
    <a:masterClrMapping/>
  </p:clrMapOvr>
  <p:transition>
    <p:fade/>
  </p:transition>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12622527"/>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60025225"/>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Edit Master text styles</a:t>
            </a:r>
          </a:p>
        </p:txBody>
      </p:sp>
    </p:spTree>
    <p:extLst>
      <p:ext uri="{BB962C8B-B14F-4D97-AF65-F5344CB8AC3E}">
        <p14:creationId xmlns:p14="http://schemas.microsoft.com/office/powerpoint/2010/main" val="93458246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118546183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7365583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bwMode="gray">
          <a:xfrm>
            <a:off x="467850" y="1015307"/>
            <a:ext cx="11254250" cy="137631"/>
          </a:xfrm>
          <a:prstGeom prst="rect">
            <a:avLst/>
          </a:prstGeom>
          <a:solidFill>
            <a:srgbClr val="0097A9"/>
          </a:solidFill>
          <a:ln w="19050" algn="ctr">
            <a:noFill/>
            <a:miter lim="800000"/>
            <a:headEnd/>
            <a:tailEnd/>
          </a:ln>
        </p:spPr>
        <p:txBody>
          <a:bodyPr wrap="square" lIns="80648" tIns="80648" rIns="80648" bIns="80648" rtlCol="0" anchor="ctr"/>
          <a:lstStyle/>
          <a:p>
            <a:pPr algn="ctr" defTabSz="829544">
              <a:lnSpc>
                <a:spcPct val="106000"/>
              </a:lnSpc>
            </a:pPr>
            <a:endParaRPr lang="en-US" sz="1452" b="1">
              <a:solidFill>
                <a:prstClr val="white"/>
              </a:solidFill>
              <a:latin typeface="Calibri Light"/>
            </a:endParaRPr>
          </a:p>
        </p:txBody>
      </p:sp>
      <p:sp>
        <p:nvSpPr>
          <p:cNvPr id="4"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6" name="Picture Placeholder 5"/>
          <p:cNvSpPr>
            <a:spLocks noGrp="1"/>
          </p:cNvSpPr>
          <p:nvPr>
            <p:ph type="pic" sz="quarter" idx="14"/>
          </p:nvPr>
        </p:nvSpPr>
        <p:spPr>
          <a:xfrm>
            <a:off x="481772" y="1243013"/>
            <a:ext cx="1712153" cy="1539875"/>
          </a:xfrm>
        </p:spPr>
        <p:txBody>
          <a:bodyPr/>
          <a:lstStyle/>
          <a:p>
            <a:endParaRPr lang="en-US"/>
          </a:p>
        </p:txBody>
      </p:sp>
    </p:spTree>
    <p:extLst>
      <p:ext uri="{BB962C8B-B14F-4D97-AF65-F5344CB8AC3E}">
        <p14:creationId xmlns:p14="http://schemas.microsoft.com/office/powerpoint/2010/main" val="3236921616"/>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bwMode="gray">
          <a:xfrm>
            <a:off x="467850" y="1015308"/>
            <a:ext cx="5537663" cy="117754"/>
          </a:xfrm>
          <a:prstGeom prst="rect">
            <a:avLst/>
          </a:prstGeom>
          <a:solidFill>
            <a:srgbClr val="0097A9"/>
          </a:solidFill>
          <a:ln w="19050" algn="ctr">
            <a:noFill/>
            <a:miter lim="800000"/>
            <a:headEnd/>
            <a:tailEnd/>
          </a:ln>
        </p:spPr>
        <p:txBody>
          <a:bodyPr wrap="square" lIns="80648" tIns="80648" rIns="80648" bIns="80648" rtlCol="0" anchor="ctr"/>
          <a:lstStyle/>
          <a:p>
            <a:pPr algn="ctr" defTabSz="829544">
              <a:lnSpc>
                <a:spcPct val="106000"/>
              </a:lnSpc>
            </a:pPr>
            <a:endParaRPr lang="en-US" sz="1452" b="1">
              <a:solidFill>
                <a:prstClr val="white"/>
              </a:solidFill>
              <a:latin typeface="Calibri Light"/>
            </a:endParaRPr>
          </a:p>
        </p:txBody>
      </p:sp>
      <p:sp>
        <p:nvSpPr>
          <p:cNvPr id="4"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5" name="Rectangle 4"/>
          <p:cNvSpPr/>
          <p:nvPr userDrawn="1"/>
        </p:nvSpPr>
        <p:spPr bwMode="gray">
          <a:xfrm>
            <a:off x="6184900" y="1018952"/>
            <a:ext cx="5537663" cy="117754"/>
          </a:xfrm>
          <a:prstGeom prst="rect">
            <a:avLst/>
          </a:prstGeom>
          <a:solidFill>
            <a:srgbClr val="0097A9"/>
          </a:solidFill>
          <a:ln w="19050" algn="ctr">
            <a:noFill/>
            <a:miter lim="800000"/>
            <a:headEnd/>
            <a:tailEnd/>
          </a:ln>
        </p:spPr>
        <p:txBody>
          <a:bodyPr wrap="square" lIns="80648" tIns="80648" rIns="80648" bIns="80648" rtlCol="0" anchor="ctr"/>
          <a:lstStyle/>
          <a:p>
            <a:pPr algn="ctr" defTabSz="829544">
              <a:lnSpc>
                <a:spcPct val="106000"/>
              </a:lnSpc>
            </a:pPr>
            <a:endParaRPr lang="en-US" sz="1452" b="1">
              <a:solidFill>
                <a:prstClr val="white"/>
              </a:solidFill>
              <a:latin typeface="Calibri Light"/>
            </a:endParaRPr>
          </a:p>
        </p:txBody>
      </p:sp>
      <p:sp>
        <p:nvSpPr>
          <p:cNvPr id="7" name="Picture Placeholder 6"/>
          <p:cNvSpPr>
            <a:spLocks noGrp="1"/>
          </p:cNvSpPr>
          <p:nvPr>
            <p:ph type="pic" sz="quarter" idx="14"/>
          </p:nvPr>
        </p:nvSpPr>
        <p:spPr>
          <a:xfrm>
            <a:off x="468313" y="1173231"/>
            <a:ext cx="1509712" cy="1390650"/>
          </a:xfrm>
        </p:spPr>
        <p:txBody>
          <a:bodyPr/>
          <a:lstStyle/>
          <a:p>
            <a:endParaRPr lang="en-US"/>
          </a:p>
        </p:txBody>
      </p:sp>
      <p:sp>
        <p:nvSpPr>
          <p:cNvPr id="8" name="Picture Placeholder 6"/>
          <p:cNvSpPr>
            <a:spLocks noGrp="1"/>
          </p:cNvSpPr>
          <p:nvPr>
            <p:ph type="pic" sz="quarter" idx="15"/>
          </p:nvPr>
        </p:nvSpPr>
        <p:spPr>
          <a:xfrm>
            <a:off x="6184900" y="1173231"/>
            <a:ext cx="1509712" cy="1390650"/>
          </a:xfrm>
        </p:spPr>
        <p:txBody>
          <a:bodyPr/>
          <a:lstStyle/>
          <a:p>
            <a:endParaRPr lang="en-US"/>
          </a:p>
        </p:txBody>
      </p:sp>
    </p:spTree>
    <p:extLst>
      <p:ext uri="{BB962C8B-B14F-4D97-AF65-F5344CB8AC3E}">
        <p14:creationId xmlns:p14="http://schemas.microsoft.com/office/powerpoint/2010/main" val="386957004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4986514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203771" y="6491553"/>
            <a:ext cx="463296" cy="329184"/>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37667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Edit Master text styles</a:t>
            </a:r>
          </a:p>
        </p:txBody>
      </p:sp>
    </p:spTree>
    <p:extLst>
      <p:ext uri="{BB962C8B-B14F-4D97-AF65-F5344CB8AC3E}">
        <p14:creationId xmlns:p14="http://schemas.microsoft.com/office/powerpoint/2010/main" val="370421009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Edit Master text styles</a:t>
            </a:r>
          </a:p>
        </p:txBody>
      </p:sp>
    </p:spTree>
    <p:extLst>
      <p:ext uri="{BB962C8B-B14F-4D97-AF65-F5344CB8AC3E}">
        <p14:creationId xmlns:p14="http://schemas.microsoft.com/office/powerpoint/2010/main" val="3041547579"/>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150003446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100288179"/>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1725743784"/>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2563965812"/>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738407033"/>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334340036"/>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683488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a:solidFill>
                <a:schemeClr val="bg1"/>
              </a:solidFill>
            </a:endParaRPr>
          </a:p>
        </p:txBody>
      </p:sp>
    </p:spTree>
    <p:extLst>
      <p:ext uri="{BB962C8B-B14F-4D97-AF65-F5344CB8AC3E}">
        <p14:creationId xmlns:p14="http://schemas.microsoft.com/office/powerpoint/2010/main" val="326254577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11180232"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pic>
        <p:nvPicPr>
          <p:cNvPr id="3" name="Picture 2"/>
          <p:cNvPicPr>
            <a:picLocks noChangeAspect="1"/>
          </p:cNvPicPr>
          <p:nvPr userDrawn="1"/>
        </p:nvPicPr>
        <p:blipFill rotWithShape="1">
          <a:blip r:embed="rId2"/>
          <a:srcRect l="690" r="24532"/>
          <a:stretch/>
        </p:blipFill>
        <p:spPr>
          <a:xfrm>
            <a:off x="7144877" y="208721"/>
            <a:ext cx="5047124" cy="6771889"/>
          </a:xfrm>
          <a:prstGeom prst="rect">
            <a:avLst/>
          </a:prstGeom>
        </p:spPr>
      </p:pic>
      <p:sp>
        <p:nvSpPr>
          <p:cNvPr id="5" name="Content Placeholder 4">
            <a:extLst>
              <a:ext uri="{FF2B5EF4-FFF2-40B4-BE49-F238E27FC236}">
                <a16:creationId xmlns:a16="http://schemas.microsoft.com/office/drawing/2014/main" id="{B8C3F53E-BF10-47F2-BCCE-D39857E34A7E}"/>
              </a:ext>
            </a:extLst>
          </p:cNvPr>
          <p:cNvSpPr>
            <a:spLocks noGrp="1"/>
          </p:cNvSpPr>
          <p:nvPr>
            <p:ph sz="quarter" idx="11"/>
          </p:nvPr>
        </p:nvSpPr>
        <p:spPr>
          <a:xfrm>
            <a:off x="4392239" y="3317035"/>
            <a:ext cx="914400" cy="914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7507538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Tree>
    <p:extLst>
      <p:ext uri="{BB962C8B-B14F-4D97-AF65-F5344CB8AC3E}">
        <p14:creationId xmlns:p14="http://schemas.microsoft.com/office/powerpoint/2010/main" val="261741952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09002032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58808502"/>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13753953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9710220"/>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122473036"/>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5"/>
          <p:cNvSpPr txBox="1">
            <a:spLocks/>
          </p:cNvSpPr>
          <p:nvPr userDrawn="1"/>
        </p:nvSpPr>
        <p:spPr>
          <a:xfrm>
            <a:off x="9633389" y="341144"/>
            <a:ext cx="2080553" cy="154133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tabLst>
                <a:tab pos="5029200" algn="r"/>
              </a:tabLst>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tabLst>
                <a:tab pos="5029200" algn="r"/>
              </a:tabLst>
              <a:defRPr lang="en-US" sz="1200" b="1" kern="120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tabLst>
                <a:tab pos="5029200" algn="r"/>
              </a:tabLst>
              <a:defRPr lang="en-US" sz="1200" kern="120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tab pos="5029200" algn="r"/>
              </a:tabLst>
              <a:defRPr lang="en-US" sz="1200" kern="1200" baseline="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US" sz="1100">
                <a:latin typeface="Calibri Light" panose="020F0302020204030204" pitchFamily="34" charset="0"/>
                <a:cs typeface="Calibri Light" panose="020F0302020204030204" pitchFamily="34" charset="0"/>
              </a:rPr>
              <a:t>Deloitte &amp; Touche</a:t>
            </a:r>
            <a:br>
              <a:rPr lang="en-US" sz="1100">
                <a:latin typeface="Calibri Light" panose="020F0302020204030204" pitchFamily="34" charset="0"/>
                <a:cs typeface="Calibri Light" panose="020F0302020204030204" pitchFamily="34" charset="0"/>
              </a:rPr>
            </a:br>
            <a:r>
              <a:rPr lang="en-US" sz="1100">
                <a:latin typeface="Calibri Light" panose="020F0302020204030204" pitchFamily="34" charset="0"/>
                <a:cs typeface="Calibri Light" panose="020F0302020204030204" pitchFamily="34" charset="0"/>
              </a:rPr>
              <a:t>Chartered Accountants</a:t>
            </a:r>
            <a:br>
              <a:rPr lang="en-US" sz="1100">
                <a:latin typeface="Calibri Light" panose="020F0302020204030204" pitchFamily="34" charset="0"/>
                <a:cs typeface="Calibri Light" panose="020F0302020204030204" pitchFamily="34" charset="0"/>
              </a:rPr>
            </a:br>
            <a:r>
              <a:rPr lang="en-US" sz="1100">
                <a:latin typeface="Calibri Light" panose="020F0302020204030204" pitchFamily="34" charset="0"/>
                <a:cs typeface="Calibri Light" panose="020F0302020204030204" pitchFamily="34" charset="0"/>
              </a:rPr>
              <a:t>The Deloitte Place, Plot No. 71, Off George Walker Bush Highway, North Dzorwulu</a:t>
            </a:r>
            <a:br>
              <a:rPr lang="en-US" sz="1100">
                <a:latin typeface="Calibri Light" panose="020F0302020204030204" pitchFamily="34" charset="0"/>
                <a:cs typeface="Calibri Light" panose="020F0302020204030204" pitchFamily="34" charset="0"/>
              </a:rPr>
            </a:br>
            <a:r>
              <a:rPr lang="en-US" sz="1100">
                <a:latin typeface="Calibri Light" panose="020F0302020204030204" pitchFamily="34" charset="0"/>
                <a:cs typeface="Calibri Light" panose="020F0302020204030204" pitchFamily="34" charset="0"/>
              </a:rPr>
              <a:t>Tel +233 (0) 302 775 355</a:t>
            </a:r>
            <a:br>
              <a:rPr lang="en-US" sz="1100">
                <a:latin typeface="Calibri Light" panose="020F0302020204030204" pitchFamily="34" charset="0"/>
                <a:cs typeface="Calibri Light" panose="020F0302020204030204" pitchFamily="34" charset="0"/>
              </a:rPr>
            </a:br>
            <a:r>
              <a:rPr lang="en-US" sz="1100">
                <a:latin typeface="Calibri Light" panose="020F0302020204030204" pitchFamily="34" charset="0"/>
                <a:cs typeface="Calibri Light" panose="020F0302020204030204" pitchFamily="34" charset="0"/>
              </a:rPr>
              <a:t>Fax +233 (0) 302 775 480</a:t>
            </a:r>
            <a:br>
              <a:rPr lang="en-US" sz="1100">
                <a:latin typeface="Calibri Light" panose="020F0302020204030204" pitchFamily="34" charset="0"/>
                <a:cs typeface="Calibri Light" panose="020F0302020204030204" pitchFamily="34" charset="0"/>
              </a:rPr>
            </a:br>
            <a:r>
              <a:rPr lang="en-US" sz="1100">
                <a:latin typeface="Calibri Light" panose="020F0302020204030204" pitchFamily="34" charset="0"/>
                <a:cs typeface="Calibri Light" panose="020F0302020204030204" pitchFamily="34" charset="0"/>
              </a:rPr>
              <a:t>www2.deloitte.com/gh</a:t>
            </a:r>
          </a:p>
        </p:txBody>
      </p:sp>
      <p:grpSp>
        <p:nvGrpSpPr>
          <p:cNvPr id="4" name="Group 3"/>
          <p:cNvGrpSpPr/>
          <p:nvPr userDrawn="1"/>
        </p:nvGrpSpPr>
        <p:grpSpPr>
          <a:xfrm>
            <a:off x="469900" y="374650"/>
            <a:ext cx="1620000" cy="307976"/>
            <a:chOff x="398463" y="404813"/>
            <a:chExt cx="1627187" cy="307976"/>
          </a:xfrm>
          <a:solidFill>
            <a:schemeClr val="tx1"/>
          </a:solidFill>
        </p:grpSpPr>
        <p:sp>
          <p:nvSpPr>
            <p:cNvPr id="5" name="Oval 4"/>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47">
                <a:solidFill>
                  <a:schemeClr val="bg1"/>
                </a:solidFill>
              </a:endParaRPr>
            </a:p>
          </p:txBody>
        </p:sp>
        <p:sp>
          <p:nvSpPr>
            <p:cNvPr id="6" name="Freeform 5"/>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47">
                <a:solidFill>
                  <a:schemeClr val="bg1"/>
                </a:solidFill>
              </a:endParaRPr>
            </a:p>
          </p:txBody>
        </p:sp>
        <p:sp>
          <p:nvSpPr>
            <p:cNvPr id="7" name="Rectangle 6"/>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47">
                <a:solidFill>
                  <a:schemeClr val="bg1"/>
                </a:solidFill>
              </a:endParaRPr>
            </a:p>
          </p:txBody>
        </p:sp>
        <p:sp>
          <p:nvSpPr>
            <p:cNvPr id="8" name="Freeform 7"/>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47">
                <a:solidFill>
                  <a:schemeClr val="bg1"/>
                </a:solidFill>
              </a:endParaRPr>
            </a:p>
          </p:txBody>
        </p:sp>
        <p:sp>
          <p:nvSpPr>
            <p:cNvPr id="9"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47">
                <a:solidFill>
                  <a:schemeClr val="bg1"/>
                </a:solidFill>
              </a:endParaRPr>
            </a:p>
          </p:txBody>
        </p:sp>
        <p:sp>
          <p:nvSpPr>
            <p:cNvPr id="10"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947">
                <a:solidFill>
                  <a:schemeClr val="bg1"/>
                </a:solidFill>
              </a:endParaRPr>
            </a:p>
          </p:txBody>
        </p:sp>
        <p:sp>
          <p:nvSpPr>
            <p:cNvPr id="11"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47">
                <a:solidFill>
                  <a:schemeClr val="bg1"/>
                </a:solidFill>
              </a:endParaRPr>
            </a:p>
          </p:txBody>
        </p:sp>
        <p:sp>
          <p:nvSpPr>
            <p:cNvPr id="12"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47">
                <a:solidFill>
                  <a:schemeClr val="bg1"/>
                </a:solidFill>
              </a:endParaRPr>
            </a:p>
          </p:txBody>
        </p:sp>
        <p:sp>
          <p:nvSpPr>
            <p:cNvPr id="13"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47">
                <a:solidFill>
                  <a:schemeClr val="bg1"/>
                </a:solidFill>
              </a:endParaRPr>
            </a:p>
          </p:txBody>
        </p:sp>
        <p:sp>
          <p:nvSpPr>
            <p:cNvPr id="14"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947">
                <a:solidFill>
                  <a:schemeClr val="bg1"/>
                </a:solidFill>
              </a:endParaRPr>
            </a:p>
          </p:txBody>
        </p:sp>
      </p:grpSp>
    </p:spTree>
    <p:extLst>
      <p:ext uri="{BB962C8B-B14F-4D97-AF65-F5344CB8AC3E}">
        <p14:creationId xmlns:p14="http://schemas.microsoft.com/office/powerpoint/2010/main" val="3681738562"/>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a:extLst>
              <a:ext uri="{FF2B5EF4-FFF2-40B4-BE49-F238E27FC236}">
                <a16:creationId xmlns:a16="http://schemas.microsoft.com/office/drawing/2014/main" id="{6C32543E-E807-47A4-A234-D5C7012187B4}"/>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DEE1FF46-E86A-2437-EC8C-0449F3B81152}"/>
              </a:ext>
            </a:extLst>
          </p:cNvPr>
          <p:cNvSpPr txBox="1"/>
          <p:nvPr userDrawn="1"/>
        </p:nvSpPr>
        <p:spPr>
          <a:xfrm>
            <a:off x="347664" y="6615500"/>
            <a:ext cx="11188700"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3. Copyright. All Rights Reserved. For more information,</a:t>
            </a:r>
            <a:r>
              <a:rPr lang="en-US" sz="900" baseline="0" noProof="0">
                <a:solidFill>
                  <a:schemeClr val="tx1"/>
                </a:solidFill>
                <a:latin typeface="Calibri" panose="020F0502020204030204" pitchFamily="34" charset="0"/>
                <a:cs typeface="Calibri" panose="020F0502020204030204" pitchFamily="34" charset="0"/>
              </a:rPr>
              <a:t> contact </a:t>
            </a:r>
            <a:r>
              <a:rPr lang="en-US" sz="900" noProof="0">
                <a:solidFill>
                  <a:schemeClr val="tx1"/>
                </a:solidFill>
                <a:latin typeface="Calibri" panose="020F0502020204030204" pitchFamily="34" charset="0"/>
                <a:cs typeface="Calibri" panose="020F0502020204030204" pitchFamily="34" charset="0"/>
              </a:rPr>
              <a:t>Deloitte Ghana                                                                                                                                                                                                   </a:t>
            </a:r>
            <a:r>
              <a:rPr lang="en-US" sz="900"/>
              <a:t>DSOT| Tax and Regulatory Workshop for NGOs</a:t>
            </a:r>
            <a:r>
              <a:rPr lang="en-US" sz="900" noProof="0">
                <a:solidFill>
                  <a:schemeClr val="tx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390264163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
        <p:nvSpPr>
          <p:cNvPr id="9" name="TextBox 8">
            <a:extLst>
              <a:ext uri="{FF2B5EF4-FFF2-40B4-BE49-F238E27FC236}">
                <a16:creationId xmlns:a16="http://schemas.microsoft.com/office/drawing/2014/main" id="{8194F347-CBED-4284-9EC5-49E7D0DE163A}"/>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bg1"/>
              </a:solidFill>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id="{A96BA13B-EE99-058E-A42E-DF644D3E08A8}"/>
              </a:ext>
            </a:extLst>
          </p:cNvPr>
          <p:cNvSpPr txBox="1"/>
          <p:nvPr userDrawn="1"/>
        </p:nvSpPr>
        <p:spPr>
          <a:xfrm>
            <a:off x="488710" y="6474853"/>
            <a:ext cx="11188700"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 2023. Copyright. All Rights Reserved. For more information,</a:t>
            </a:r>
            <a:r>
              <a:rPr lang="en-US" sz="900" baseline="0" noProof="0">
                <a:solidFill>
                  <a:schemeClr val="tx1"/>
                </a:solidFill>
                <a:latin typeface="Calibri" panose="020F0502020204030204" pitchFamily="34" charset="0"/>
                <a:cs typeface="Calibri" panose="020F0502020204030204" pitchFamily="34" charset="0"/>
              </a:rPr>
              <a:t> contact </a:t>
            </a:r>
            <a:r>
              <a:rPr lang="en-US" sz="900" noProof="0">
                <a:solidFill>
                  <a:schemeClr val="tx1"/>
                </a:solidFill>
                <a:latin typeface="Calibri" panose="020F0502020204030204" pitchFamily="34" charset="0"/>
                <a:cs typeface="Calibri" panose="020F0502020204030204" pitchFamily="34" charset="0"/>
              </a:rPr>
              <a:t>Deloitte Ghana                                                                                                                                                                                                   </a:t>
            </a:r>
            <a:r>
              <a:rPr lang="en-US" sz="900"/>
              <a:t>DSOT| Tax and Regulatory Workshop for NGOs</a:t>
            </a:r>
            <a:r>
              <a:rPr lang="en-US" sz="900" noProof="0">
                <a:solidFill>
                  <a:schemeClr val="tx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298783065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71208567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89.xml"/><Relationship Id="rId21" Type="http://schemas.openxmlformats.org/officeDocument/2006/relationships/slideLayout" Target="../slideLayouts/slideLayout84.xml"/><Relationship Id="rId34" Type="http://schemas.openxmlformats.org/officeDocument/2006/relationships/slideLayout" Target="../slideLayouts/slideLayout97.xml"/><Relationship Id="rId42" Type="http://schemas.openxmlformats.org/officeDocument/2006/relationships/slideLayout" Target="../slideLayouts/slideLayout105.xml"/><Relationship Id="rId47" Type="http://schemas.openxmlformats.org/officeDocument/2006/relationships/slideLayout" Target="../slideLayouts/slideLayout110.xml"/><Relationship Id="rId50" Type="http://schemas.openxmlformats.org/officeDocument/2006/relationships/slideLayout" Target="../slideLayouts/slideLayout113.xml"/><Relationship Id="rId55" Type="http://schemas.openxmlformats.org/officeDocument/2006/relationships/slideLayout" Target="../slideLayouts/slideLayout118.xml"/><Relationship Id="rId63" Type="http://schemas.openxmlformats.org/officeDocument/2006/relationships/tags" Target="../tags/tag2.xml"/><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slideLayout" Target="../slideLayouts/slideLayout108.xml"/><Relationship Id="rId53" Type="http://schemas.openxmlformats.org/officeDocument/2006/relationships/slideLayout" Target="../slideLayouts/slideLayout116.xml"/><Relationship Id="rId58" Type="http://schemas.openxmlformats.org/officeDocument/2006/relationships/slideLayout" Target="../slideLayouts/slideLayout121.xml"/><Relationship Id="rId5" Type="http://schemas.openxmlformats.org/officeDocument/2006/relationships/slideLayout" Target="../slideLayouts/slideLayout68.xml"/><Relationship Id="rId61" Type="http://schemas.openxmlformats.org/officeDocument/2006/relationships/slideLayout" Target="../slideLayouts/slideLayout124.xml"/><Relationship Id="rId19" Type="http://schemas.openxmlformats.org/officeDocument/2006/relationships/slideLayout" Target="../slideLayouts/slideLayout8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slideLayout" Target="../slideLayouts/slideLayout111.xml"/><Relationship Id="rId56" Type="http://schemas.openxmlformats.org/officeDocument/2006/relationships/slideLayout" Target="../slideLayouts/slideLayout119.xml"/><Relationship Id="rId64" Type="http://schemas.openxmlformats.org/officeDocument/2006/relationships/oleObject" Target="../embeddings/oleObject2.bin"/><Relationship Id="rId8" Type="http://schemas.openxmlformats.org/officeDocument/2006/relationships/slideLayout" Target="../slideLayouts/slideLayout71.xml"/><Relationship Id="rId51" Type="http://schemas.openxmlformats.org/officeDocument/2006/relationships/slideLayout" Target="../slideLayouts/slideLayout114.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slideLayout" Target="../slideLayouts/slideLayout109.xml"/><Relationship Id="rId59" Type="http://schemas.openxmlformats.org/officeDocument/2006/relationships/slideLayout" Target="../slideLayouts/slideLayout122.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54" Type="http://schemas.openxmlformats.org/officeDocument/2006/relationships/slideLayout" Target="../slideLayouts/slideLayout117.xml"/><Relationship Id="rId62" Type="http://schemas.openxmlformats.org/officeDocument/2006/relationships/theme" Target="../theme/theme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slideLayout" Target="../slideLayouts/slideLayout112.xml"/><Relationship Id="rId57" Type="http://schemas.openxmlformats.org/officeDocument/2006/relationships/slideLayout" Target="../slideLayouts/slideLayout120.xml"/><Relationship Id="rId10" Type="http://schemas.openxmlformats.org/officeDocument/2006/relationships/slideLayout" Target="../slideLayouts/slideLayout73.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52" Type="http://schemas.openxmlformats.org/officeDocument/2006/relationships/slideLayout" Target="../slideLayouts/slideLayout115.xml"/><Relationship Id="rId60" Type="http://schemas.openxmlformats.org/officeDocument/2006/relationships/slideLayout" Target="../slideLayouts/slideLayout123.xml"/><Relationship Id="rId65" Type="http://schemas.openxmlformats.org/officeDocument/2006/relationships/image" Target="../media/image1.emf"/><Relationship Id="rId4" Type="http://schemas.openxmlformats.org/officeDocument/2006/relationships/slideLayout" Target="../slideLayouts/slideLayout67.xml"/><Relationship Id="rId9" Type="http://schemas.openxmlformats.org/officeDocument/2006/relationships/slideLayout" Target="../slideLayouts/slideLayout72.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9" Type="http://schemas.openxmlformats.org/officeDocument/2006/relationships/slideLayout" Target="../slideLayouts/slideLayout10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image" Target="../media/image1.emf"/><Relationship Id="rId5" Type="http://schemas.openxmlformats.org/officeDocument/2006/relationships/slideLayout" Target="../slideLayouts/slideLayout129.xml"/><Relationship Id="rId10" Type="http://schemas.openxmlformats.org/officeDocument/2006/relationships/oleObject" Target="../embeddings/oleObject3.bin"/><Relationship Id="rId4" Type="http://schemas.openxmlformats.org/officeDocument/2006/relationships/slideLayout" Target="../slideLayouts/slideLayout128.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5"/>
            </p:custDataLst>
            <p:extLst>
              <p:ext uri="{D42A27DB-BD31-4B8C-83A1-F6EECF244321}">
                <p14:modId xmlns:p14="http://schemas.microsoft.com/office/powerpoint/2010/main" val="31690501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6" imgW="270" imgH="270" progId="TCLayout.ActiveDocument.1">
                  <p:embed/>
                </p:oleObj>
              </mc:Choice>
              <mc:Fallback>
                <p:oleObj name="think-cell Slide" r:id="rId66" imgW="270" imgH="270" progId="TCLayout.ActiveDocument.1">
                  <p:embed/>
                  <p:pic>
                    <p:nvPicPr>
                      <p:cNvPr id="4" name="Object 3" hidden="1"/>
                      <p:cNvPicPr/>
                      <p:nvPr/>
                    </p:nvPicPr>
                    <p:blipFill>
                      <a:blip r:embed="rId6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84628B86-2681-4A95-8391-AB6F5F95E3C8}"/>
              </a:ext>
            </a:extLst>
          </p:cNvPr>
          <p:cNvSpPr txBox="1"/>
          <p:nvPr userDrawn="1"/>
        </p:nvSpPr>
        <p:spPr>
          <a:xfrm>
            <a:off x="469900" y="6477000"/>
            <a:ext cx="5355167" cy="123111"/>
          </a:xfrm>
          <a:prstGeom prst="rect">
            <a:avLst/>
          </a:prstGeom>
          <a:noFill/>
        </p:spPr>
        <p:txBody>
          <a:bodyPr wrap="square" lIns="0" tIns="0" rIns="0" bIns="0" rtlCol="0">
            <a:spAutoFit/>
          </a:bodyPr>
          <a:lstStyle/>
          <a:p>
            <a:pPr marL="0" indent="0">
              <a:spcBef>
                <a:spcPts val="80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 2024 Copyright. All Rights Reserved. For more</a:t>
            </a:r>
            <a:r>
              <a:rPr lang="en-US" sz="800" baseline="0" noProof="0" dirty="0">
                <a:solidFill>
                  <a:schemeClr val="tx1"/>
                </a:solidFill>
                <a:latin typeface="Calibri" panose="020F0502020204030204" pitchFamily="34" charset="0"/>
                <a:cs typeface="Calibri" panose="020F0502020204030204" pitchFamily="34" charset="0"/>
              </a:rPr>
              <a:t> information, contact Deloitte Ghana</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C66D78A6-FFA0-4F23-B336-81D0309F2744}"/>
              </a:ext>
            </a:extLst>
          </p:cNvPr>
          <p:cNvSpPr txBox="1"/>
          <p:nvPr userDrawn="1"/>
        </p:nvSpPr>
        <p:spPr>
          <a:xfrm>
            <a:off x="6174960" y="6478588"/>
            <a:ext cx="5355167" cy="123111"/>
          </a:xfrm>
          <a:prstGeom prst="rect">
            <a:avLst/>
          </a:prstGeom>
          <a:noFill/>
        </p:spPr>
        <p:txBody>
          <a:bodyPr wrap="square" lIns="0" tIns="0" rIns="0" bIns="0" rtlCol="0">
            <a:spAutoFit/>
          </a:bodyPr>
          <a:lstStyle/>
          <a:p>
            <a:pPr marL="0" indent="0" algn="r">
              <a:spcBef>
                <a:spcPts val="80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The Energy Sector of Liberia</a:t>
            </a:r>
          </a:p>
        </p:txBody>
      </p:sp>
    </p:spTree>
    <p:extLst>
      <p:ext uri="{BB962C8B-B14F-4D97-AF65-F5344CB8AC3E}">
        <p14:creationId xmlns:p14="http://schemas.microsoft.com/office/powerpoint/2010/main" val="15673103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112">
          <p15:clr>
            <a:srgbClr val="F26B43"/>
          </p15:clr>
        </p15:guide>
        <p15:guide id="2" orient="horz" pos="2160">
          <p15:clr>
            <a:srgbClr val="F26B43"/>
          </p15:clr>
        </p15:guide>
        <p15:guide id="3" orient="horz" pos="4020">
          <p15:clr>
            <a:srgbClr val="F26B43"/>
          </p15:clr>
        </p15:guide>
        <p15:guide id="4" pos="316">
          <p15:clr>
            <a:srgbClr val="F26B43"/>
          </p15:clr>
        </p15:guide>
        <p15:guide id="5" pos="7364">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4961">
          <p15:clr>
            <a:srgbClr val="F26B43"/>
          </p15:clr>
        </p15:guide>
        <p15:guide id="11" orient="horz" pos="236">
          <p15:clr>
            <a:srgbClr val="F26B43"/>
          </p15:clr>
        </p15:guide>
        <p15:guide id="12" pos="1363">
          <p15:clr>
            <a:srgbClr val="F26B43"/>
          </p15:clr>
        </p15:guide>
        <p15:guide id="13" pos="1516">
          <p15:clr>
            <a:srgbClr val="F26B43"/>
          </p15:clr>
        </p15:guide>
        <p15:guide id="14" pos="2560">
          <p15:clr>
            <a:srgbClr val="F26B43"/>
          </p15:clr>
        </p15:guide>
        <p15:guide id="15" pos="2711">
          <p15:clr>
            <a:srgbClr val="F26B43"/>
          </p15:clr>
        </p15:guide>
        <p15:guide id="16" pos="6160">
          <p15:clr>
            <a:srgbClr val="F26B43"/>
          </p15:clr>
        </p15:guide>
        <p15:guide id="17" pos="3764">
          <p15:clr>
            <a:srgbClr val="F26B43"/>
          </p15:clr>
        </p15:guide>
        <p15:guide id="18" pos="3916">
          <p15:clr>
            <a:srgbClr val="F26B43"/>
          </p15:clr>
        </p15:guide>
        <p15:guide id="19" pos="3840">
          <p15:clr>
            <a:srgbClr val="F26B43"/>
          </p15:clr>
        </p15:guide>
        <p15:guide id="20" pos="6312">
          <p15:clr>
            <a:srgbClr val="F26B43"/>
          </p15:clr>
        </p15:guide>
        <p15:guide id="21" orient="horz" pos="1049">
          <p15:clr>
            <a:srgbClr val="F26B43"/>
          </p15:clr>
        </p15:guide>
        <p15:guide id="22" orient="horz" pos="6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3"/>
            </p:custDataLst>
            <p:extLst>
              <p:ext uri="{D42A27DB-BD31-4B8C-83A1-F6EECF244321}">
                <p14:modId xmlns:p14="http://schemas.microsoft.com/office/powerpoint/2010/main" val="36365733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4" imgW="270" imgH="270" progId="TCLayout.ActiveDocument.1">
                  <p:embed/>
                </p:oleObj>
              </mc:Choice>
              <mc:Fallback>
                <p:oleObj name="think-cell Slide" r:id="rId64" imgW="270" imgH="270" progId="TCLayout.ActiveDocument.1">
                  <p:embed/>
                  <p:pic>
                    <p:nvPicPr>
                      <p:cNvPr id="4" name="Object 3" hidden="1"/>
                      <p:cNvPicPr/>
                      <p:nvPr/>
                    </p:nvPicPr>
                    <p:blipFill>
                      <a:blip r:embed="rId6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488710" y="1665289"/>
            <a:ext cx="11188700" cy="4716462"/>
          </a:xfrm>
          <a:prstGeom prst="rect">
            <a:avLst/>
          </a:prstGeom>
        </p:spPr>
        <p:txBody>
          <a:bodyPr vert="horz" lIns="0" tIns="0" rIns="0" bIns="0" rtlCol="0">
            <a:norm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B65293B8-BEA8-6DEB-AA1B-5ACFC6BCC96E}"/>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AD74F15-76AD-E960-16CA-A6C5E54EAD94}"/>
              </a:ext>
            </a:extLst>
          </p:cNvPr>
          <p:cNvSpPr txBox="1"/>
          <p:nvPr userDrawn="1"/>
        </p:nvSpPr>
        <p:spPr>
          <a:xfrm>
            <a:off x="469900" y="6477000"/>
            <a:ext cx="5355167" cy="123111"/>
          </a:xfrm>
          <a:prstGeom prst="rect">
            <a:avLst/>
          </a:prstGeom>
          <a:noFill/>
        </p:spPr>
        <p:txBody>
          <a:bodyPr wrap="square" lIns="0" tIns="0" rIns="0" bIns="0" rtlCol="0">
            <a:spAutoFit/>
          </a:bodyPr>
          <a:lstStyle/>
          <a:p>
            <a:pPr marL="0" indent="0">
              <a:spcBef>
                <a:spcPts val="80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 2024 Copyright. All Rights Reserved. For more</a:t>
            </a:r>
            <a:r>
              <a:rPr lang="en-US" sz="800" baseline="0" noProof="0" dirty="0">
                <a:solidFill>
                  <a:schemeClr val="tx1"/>
                </a:solidFill>
                <a:latin typeface="Calibri" panose="020F0502020204030204" pitchFamily="34" charset="0"/>
                <a:cs typeface="Calibri" panose="020F0502020204030204" pitchFamily="34" charset="0"/>
              </a:rPr>
              <a:t> information, contact Deloitte Ghana</a:t>
            </a:r>
            <a:endParaRPr lang="en-US" sz="800" noProof="0" dirty="0">
              <a:solidFill>
                <a:schemeClr val="tx1"/>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58C63545-8358-B8BD-9D04-573B198A837C}"/>
              </a:ext>
            </a:extLst>
          </p:cNvPr>
          <p:cNvSpPr txBox="1"/>
          <p:nvPr userDrawn="1"/>
        </p:nvSpPr>
        <p:spPr>
          <a:xfrm>
            <a:off x="6174960" y="6478588"/>
            <a:ext cx="5355167" cy="123111"/>
          </a:xfrm>
          <a:prstGeom prst="rect">
            <a:avLst/>
          </a:prstGeom>
          <a:noFill/>
        </p:spPr>
        <p:txBody>
          <a:bodyPr wrap="square" lIns="0" tIns="0" rIns="0" bIns="0" rtlCol="0">
            <a:spAutoFit/>
          </a:bodyPr>
          <a:lstStyle/>
          <a:p>
            <a:pPr marL="0" indent="0" algn="r">
              <a:spcBef>
                <a:spcPts val="80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The Energy Sector of Liberia</a:t>
            </a:r>
          </a:p>
        </p:txBody>
      </p:sp>
    </p:spTree>
    <p:extLst>
      <p:ext uri="{BB962C8B-B14F-4D97-AF65-F5344CB8AC3E}">
        <p14:creationId xmlns:p14="http://schemas.microsoft.com/office/powerpoint/2010/main" val="60613007"/>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 id="2147483750" r:id="rId26"/>
    <p:sldLayoutId id="2147483751" r:id="rId27"/>
    <p:sldLayoutId id="2147483752" r:id="rId28"/>
    <p:sldLayoutId id="2147483753" r:id="rId29"/>
    <p:sldLayoutId id="2147483754" r:id="rId30"/>
    <p:sldLayoutId id="2147483755" r:id="rId31"/>
    <p:sldLayoutId id="2147483756" r:id="rId32"/>
    <p:sldLayoutId id="2147483757" r:id="rId33"/>
    <p:sldLayoutId id="2147483758" r:id="rId34"/>
    <p:sldLayoutId id="2147483759" r:id="rId35"/>
    <p:sldLayoutId id="2147483760" r:id="rId36"/>
    <p:sldLayoutId id="2147483761" r:id="rId37"/>
    <p:sldLayoutId id="2147483762" r:id="rId38"/>
    <p:sldLayoutId id="2147483763" r:id="rId39"/>
    <p:sldLayoutId id="2147483764" r:id="rId40"/>
    <p:sldLayoutId id="2147483765" r:id="rId41"/>
    <p:sldLayoutId id="2147483766" r:id="rId42"/>
    <p:sldLayoutId id="2147483767" r:id="rId43"/>
    <p:sldLayoutId id="2147483768" r:id="rId44"/>
    <p:sldLayoutId id="2147483769" r:id="rId45"/>
    <p:sldLayoutId id="2147483770" r:id="rId46"/>
    <p:sldLayoutId id="2147483771" r:id="rId47"/>
    <p:sldLayoutId id="2147483772" r:id="rId48"/>
    <p:sldLayoutId id="2147483773" r:id="rId49"/>
    <p:sldLayoutId id="2147483774" r:id="rId50"/>
    <p:sldLayoutId id="2147483775" r:id="rId51"/>
    <p:sldLayoutId id="2147483776" r:id="rId52"/>
    <p:sldLayoutId id="2147483777" r:id="rId53"/>
    <p:sldLayoutId id="2147483778" r:id="rId54"/>
    <p:sldLayoutId id="2147483779" r:id="rId55"/>
    <p:sldLayoutId id="2147483780" r:id="rId56"/>
    <p:sldLayoutId id="2147483781" r:id="rId57"/>
    <p:sldLayoutId id="2147483782" r:id="rId58"/>
    <p:sldLayoutId id="2147483783" r:id="rId59"/>
    <p:sldLayoutId id="2147483792" r:id="rId60"/>
    <p:sldLayoutId id="2147483793" r:id="rId6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744">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9"/>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US" noProof="0" dirty="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TextBox 19">
            <a:extLst>
              <a:ext uri="{FF2B5EF4-FFF2-40B4-BE49-F238E27FC236}">
                <a16:creationId xmlns:a16="http://schemas.microsoft.com/office/drawing/2014/main" id="{5A35A5D5-FD12-4A0E-B47E-3D53D008B26B}"/>
              </a:ext>
            </a:extLst>
          </p:cNvPr>
          <p:cNvSpPr txBox="1"/>
          <p:nvPr userDrawn="1"/>
        </p:nvSpPr>
        <p:spPr>
          <a:xfrm>
            <a:off x="4065081" y="699568"/>
            <a:ext cx="254000"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2" name="TextBox 21">
            <a:extLst>
              <a:ext uri="{FF2B5EF4-FFF2-40B4-BE49-F238E27FC236}">
                <a16:creationId xmlns:a16="http://schemas.microsoft.com/office/drawing/2014/main" id="{33FEAD1B-5DFB-4123-913B-D7D5838C8C6D}"/>
              </a:ext>
            </a:extLst>
          </p:cNvPr>
          <p:cNvSpPr txBox="1"/>
          <p:nvPr userDrawn="1"/>
        </p:nvSpPr>
        <p:spPr>
          <a:xfrm>
            <a:off x="4321370" y="802745"/>
            <a:ext cx="1673167"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3" name="TextBox 22">
            <a:extLst>
              <a:ext uri="{FF2B5EF4-FFF2-40B4-BE49-F238E27FC236}">
                <a16:creationId xmlns:a16="http://schemas.microsoft.com/office/drawing/2014/main" id="{B202DBDA-700C-4979-B00F-3477C099D042}"/>
              </a:ext>
            </a:extLst>
          </p:cNvPr>
          <p:cNvSpPr txBox="1"/>
          <p:nvPr userDrawn="1"/>
        </p:nvSpPr>
        <p:spPr>
          <a:xfrm>
            <a:off x="5969842" y="802745"/>
            <a:ext cx="250316"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24" name="TextBox 23">
            <a:extLst>
              <a:ext uri="{FF2B5EF4-FFF2-40B4-BE49-F238E27FC236}">
                <a16:creationId xmlns:a16="http://schemas.microsoft.com/office/drawing/2014/main" id="{D14DFC3E-51E5-47BE-BA81-FDAED74D8117}"/>
              </a:ext>
            </a:extLst>
          </p:cNvPr>
          <p:cNvSpPr txBox="1"/>
          <p:nvPr userDrawn="1"/>
        </p:nvSpPr>
        <p:spPr>
          <a:xfrm>
            <a:off x="4321027" y="801689"/>
            <a:ext cx="1673851" cy="276999"/>
          </a:xfrm>
          <a:prstGeom prst="rect">
            <a:avLst/>
          </a:prstGeom>
          <a:noFill/>
          <a:ln>
            <a:noFill/>
          </a:ln>
        </p:spPr>
        <p:txBody>
          <a:bodyPr wrap="square" lIns="0" tIns="0" rIns="0" bIns="0" rtlCol="0">
            <a:spAutoFit/>
          </a:bodyPr>
          <a:lstStyle/>
          <a:p>
            <a:pPr marL="203200" indent="-203200">
              <a:spcBef>
                <a:spcPts val="600"/>
              </a:spcBef>
              <a:buSzPct val="100000"/>
              <a:buFont typeface="Arial"/>
              <a:buChar char="•"/>
            </a:pPr>
            <a:endParaRPr lang="en-US" sz="1800" dirty="0">
              <a:solidFill>
                <a:srgbClr val="313131"/>
              </a:solidFill>
            </a:endParaRPr>
          </a:p>
        </p:txBody>
      </p:sp>
      <p:sp>
        <p:nvSpPr>
          <p:cNvPr id="11" name="TextBox 10">
            <a:extLst>
              <a:ext uri="{FF2B5EF4-FFF2-40B4-BE49-F238E27FC236}">
                <a16:creationId xmlns:a16="http://schemas.microsoft.com/office/drawing/2014/main" id="{CC403D44-5C3F-9E42-A9BF-3F2D6C6B851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C5C9E34D-4573-BE1C-E654-D52A0C132A0B}"/>
              </a:ext>
            </a:extLst>
          </p:cNvPr>
          <p:cNvSpPr txBox="1"/>
          <p:nvPr userDrawn="1"/>
        </p:nvSpPr>
        <p:spPr>
          <a:xfrm>
            <a:off x="6174960" y="6478588"/>
            <a:ext cx="5355167" cy="123111"/>
          </a:xfrm>
          <a:prstGeom prst="rect">
            <a:avLst/>
          </a:prstGeom>
          <a:noFill/>
        </p:spPr>
        <p:txBody>
          <a:bodyPr wrap="square" lIns="0" tIns="0" rIns="0" bIns="0" rtlCol="0">
            <a:spAutoFit/>
          </a:bodyPr>
          <a:lstStyle/>
          <a:p>
            <a:pPr marL="0" indent="0" algn="r">
              <a:spcBef>
                <a:spcPts val="80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The Energy Sector of Liberia</a:t>
            </a:r>
          </a:p>
        </p:txBody>
      </p:sp>
      <p:sp>
        <p:nvSpPr>
          <p:cNvPr id="7" name="TextBox 6">
            <a:extLst>
              <a:ext uri="{FF2B5EF4-FFF2-40B4-BE49-F238E27FC236}">
                <a16:creationId xmlns:a16="http://schemas.microsoft.com/office/drawing/2014/main" id="{54065723-B7B1-6447-1660-5851E7DFD551}"/>
              </a:ext>
            </a:extLst>
          </p:cNvPr>
          <p:cNvSpPr txBox="1"/>
          <p:nvPr userDrawn="1"/>
        </p:nvSpPr>
        <p:spPr>
          <a:xfrm>
            <a:off x="469900" y="6477000"/>
            <a:ext cx="5355167" cy="123111"/>
          </a:xfrm>
          <a:prstGeom prst="rect">
            <a:avLst/>
          </a:prstGeom>
          <a:noFill/>
        </p:spPr>
        <p:txBody>
          <a:bodyPr wrap="square" lIns="0" tIns="0" rIns="0" bIns="0" rtlCol="0">
            <a:spAutoFit/>
          </a:bodyPr>
          <a:lstStyle/>
          <a:p>
            <a:pPr marL="0" indent="0">
              <a:spcBef>
                <a:spcPts val="800"/>
              </a:spcBef>
              <a:buSzPct val="100000"/>
              <a:buFont typeface="Arial"/>
              <a:buNone/>
            </a:pPr>
            <a:r>
              <a:rPr lang="en-US" sz="800" noProof="0" dirty="0">
                <a:solidFill>
                  <a:schemeClr val="tx1"/>
                </a:solidFill>
                <a:latin typeface="Calibri" panose="020F0502020204030204" pitchFamily="34" charset="0"/>
                <a:cs typeface="Calibri" panose="020F0502020204030204" pitchFamily="34" charset="0"/>
              </a:rPr>
              <a:t>© 2024 Copyright. All Rights Reserved. For more</a:t>
            </a:r>
            <a:r>
              <a:rPr lang="en-US" sz="800" baseline="0" noProof="0" dirty="0">
                <a:solidFill>
                  <a:schemeClr val="tx1"/>
                </a:solidFill>
                <a:latin typeface="Calibri" panose="020F0502020204030204" pitchFamily="34" charset="0"/>
                <a:cs typeface="Calibri" panose="020F0502020204030204" pitchFamily="34" charset="0"/>
              </a:rPr>
              <a:t> information, contact Deloitte Ghana</a:t>
            </a:r>
            <a:endParaRPr lang="en-US" sz="8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6403356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28" userDrawn="1">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6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5.jpeg"/><Relationship Id="rId4"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7.jpeg"/><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8.jpeg"/><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23.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1.jpe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3.jpeg"/><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4.jpeg"/><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469900" y="6108700"/>
            <a:ext cx="4446269" cy="273050"/>
          </a:xfrm>
        </p:spPr>
        <p:txBody>
          <a:bodyPr>
            <a:normAutofit/>
          </a:bodyPr>
          <a:lstStyle/>
          <a:p>
            <a:r>
              <a:rPr lang="en-US" sz="1600" dirty="0">
                <a:solidFill>
                  <a:schemeClr val="bg1"/>
                </a:solidFill>
              </a:rPr>
              <a:t>August </a:t>
            </a:r>
            <a:r>
              <a:rPr lang="en-US" sz="1600" dirty="0">
                <a:solidFill>
                  <a:schemeClr val="bg1"/>
                </a:solidFill>
                <a:latin typeface="+mn-lt"/>
              </a:rPr>
              <a:t>2024</a:t>
            </a:r>
          </a:p>
        </p:txBody>
      </p:sp>
      <p:sp>
        <p:nvSpPr>
          <p:cNvPr id="8" name="Title 7">
            <a:extLst>
              <a:ext uri="{FF2B5EF4-FFF2-40B4-BE49-F238E27FC236}">
                <a16:creationId xmlns:a16="http://schemas.microsoft.com/office/drawing/2014/main" id="{4ECBF9C1-44B4-4A0E-8599-816A88EC94BB}"/>
              </a:ext>
            </a:extLst>
          </p:cNvPr>
          <p:cNvSpPr>
            <a:spLocks noGrp="1"/>
          </p:cNvSpPr>
          <p:nvPr>
            <p:ph type="ctrTitle"/>
          </p:nvPr>
        </p:nvSpPr>
        <p:spPr>
          <a:xfrm>
            <a:off x="469900" y="5743650"/>
            <a:ext cx="5502542" cy="365050"/>
          </a:xfrm>
        </p:spPr>
        <p:txBody>
          <a:bodyPr/>
          <a:lstStyle/>
          <a:p>
            <a:r>
              <a:rPr lang="en-US" b="1" dirty="0"/>
              <a:t>The Energy Sector of Liberia</a:t>
            </a:r>
          </a:p>
        </p:txBody>
      </p:sp>
      <p:pic>
        <p:nvPicPr>
          <p:cNvPr id="4" name="Picture 3">
            <a:extLst>
              <a:ext uri="{FF2B5EF4-FFF2-40B4-BE49-F238E27FC236}">
                <a16:creationId xmlns:a16="http://schemas.microsoft.com/office/drawing/2014/main" id="{6AD169B6-C499-2E71-CF82-DE736458041D}"/>
              </a:ext>
            </a:extLst>
          </p:cNvPr>
          <p:cNvPicPr>
            <a:picLocks noChangeAspect="1"/>
          </p:cNvPicPr>
          <p:nvPr/>
        </p:nvPicPr>
        <p:blipFill rotWithShape="1">
          <a:blip r:embed="rId3">
            <a:extLst>
              <a:ext uri="{28A0092B-C50C-407E-A947-70E740481C1C}">
                <a14:useLocalDpi xmlns:a14="http://schemas.microsoft.com/office/drawing/2010/main" val="0"/>
              </a:ext>
            </a:extLst>
          </a:blip>
          <a:srcRect l="8483" t="13045" r="8388" b="169"/>
          <a:stretch/>
        </p:blipFill>
        <p:spPr>
          <a:xfrm>
            <a:off x="3952875" y="1550126"/>
            <a:ext cx="4286250" cy="4193524"/>
          </a:xfrm>
          <a:prstGeom prst="ellipse">
            <a:avLst/>
          </a:prstGeom>
        </p:spPr>
      </p:pic>
    </p:spTree>
    <p:extLst>
      <p:ext uri="{BB962C8B-B14F-4D97-AF65-F5344CB8AC3E}">
        <p14:creationId xmlns:p14="http://schemas.microsoft.com/office/powerpoint/2010/main" val="171012412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Man working on a computer">
            <a:extLst>
              <a:ext uri="{FF2B5EF4-FFF2-40B4-BE49-F238E27FC236}">
                <a16:creationId xmlns:a16="http://schemas.microsoft.com/office/drawing/2014/main" id="{D5E44962-49CE-4DC5-A317-1F23F929BFC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40" y="135"/>
            <a:ext cx="12189278" cy="6857730"/>
          </a:xfrm>
          <a:prstGeom prst="rect">
            <a:avLst/>
          </a:prstGeom>
        </p:spPr>
      </p:pic>
      <p:grpSp>
        <p:nvGrpSpPr>
          <p:cNvPr id="3" name="Group 2">
            <a:extLst>
              <a:ext uri="{FF2B5EF4-FFF2-40B4-BE49-F238E27FC236}">
                <a16:creationId xmlns:a16="http://schemas.microsoft.com/office/drawing/2014/main" id="{A2633686-B252-4117-B71D-82F282D8A58A}"/>
              </a:ext>
            </a:extLst>
          </p:cNvPr>
          <p:cNvGrpSpPr/>
          <p:nvPr/>
        </p:nvGrpSpPr>
        <p:grpSpPr>
          <a:xfrm rot="10800000">
            <a:off x="557169" y="2323428"/>
            <a:ext cx="3811375" cy="4058207"/>
            <a:chOff x="469900" y="457199"/>
            <a:chExt cx="3024224" cy="3478335"/>
          </a:xfrm>
        </p:grpSpPr>
        <p:sp>
          <p:nvSpPr>
            <p:cNvPr id="7" name="Text Placeholder 5">
              <a:extLst>
                <a:ext uri="{FF2B5EF4-FFF2-40B4-BE49-F238E27FC236}">
                  <a16:creationId xmlns:a16="http://schemas.microsoft.com/office/drawing/2014/main" id="{830C464B-2C34-0A45-9F93-AFD72C96F3EA}"/>
                </a:ext>
              </a:extLst>
            </p:cNvPr>
            <p:cNvSpPr txBox="1">
              <a:spLocks/>
            </p:cNvSpPr>
            <p:nvPr>
              <p:custDataLst>
                <p:tags r:id="rId1"/>
              </p:custDataLst>
            </p:nvPr>
          </p:nvSpPr>
          <p:spPr>
            <a:xfrm rot="5400000">
              <a:off x="242844" y="684255"/>
              <a:ext cx="3478335" cy="3024224"/>
            </a:xfrm>
            <a:prstGeom prst="homePlate">
              <a:avLst>
                <a:gd name="adj" fmla="val 26427"/>
              </a:avLst>
            </a:prstGeom>
            <a:solidFill>
              <a:schemeClr val="tx1">
                <a:alpha val="42000"/>
              </a:schemeClr>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endParaRPr kumimoji="0" lang="en-US" sz="1100" b="1" i="0" u="none" strike="noStrike" kern="1200" cap="none" spc="0" normalizeH="0" baseline="0" noProof="0" dirty="0">
                <a:ln>
                  <a:noFill/>
                </a:ln>
                <a:solidFill>
                  <a:srgbClr val="FFFFFF"/>
                </a:solidFill>
                <a:effectLst/>
                <a:uLnTx/>
                <a:uFillTx/>
                <a:latin typeface="Calibri Light"/>
                <a:ea typeface="+mj-ea"/>
                <a:cs typeface="+mj-cs"/>
              </a:endParaRPr>
            </a:p>
          </p:txBody>
        </p:sp>
        <p:sp>
          <p:nvSpPr>
            <p:cNvPr id="8" name="Text Placeholder 5">
              <a:extLst>
                <a:ext uri="{FF2B5EF4-FFF2-40B4-BE49-F238E27FC236}">
                  <a16:creationId xmlns:a16="http://schemas.microsoft.com/office/drawing/2014/main" id="{095FC11C-AA67-3A43-8D6D-568D9091AAD2}"/>
                </a:ext>
              </a:extLst>
            </p:cNvPr>
            <p:cNvSpPr txBox="1">
              <a:spLocks noChangeAspect="1"/>
            </p:cNvSpPr>
            <p:nvPr>
              <p:custDataLst>
                <p:tags r:id="rId2"/>
              </p:custDataLst>
            </p:nvPr>
          </p:nvSpPr>
          <p:spPr>
            <a:xfrm rot="5400000">
              <a:off x="456444" y="847080"/>
              <a:ext cx="3051138" cy="2652803"/>
            </a:xfrm>
            <a:prstGeom prst="homePlate">
              <a:avLst>
                <a:gd name="adj" fmla="val 26427"/>
              </a:avLst>
            </a:prstGeom>
            <a:solidFill>
              <a:schemeClr val="accent5"/>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r>
                <a:rPr kumimoji="0" lang="en-US" sz="1100" b="1" i="0" u="none" strike="noStrike" kern="1200" cap="none" spc="0" normalizeH="0" baseline="0" noProof="0" dirty="0">
                  <a:ln>
                    <a:noFill/>
                  </a:ln>
                  <a:solidFill>
                    <a:srgbClr val="FFFFFF"/>
                  </a:solidFill>
                  <a:effectLst/>
                  <a:uLnTx/>
                  <a:uFillTx/>
                  <a:latin typeface="Calibri Light"/>
                  <a:ea typeface="+mj-ea"/>
                  <a:cs typeface="+mj-cs"/>
                </a:rPr>
                <a:t>  </a:t>
              </a:r>
            </a:p>
          </p:txBody>
        </p:sp>
      </p:grpSp>
      <p:sp>
        <p:nvSpPr>
          <p:cNvPr id="12" name="TextBox 11">
            <a:extLst>
              <a:ext uri="{FF2B5EF4-FFF2-40B4-BE49-F238E27FC236}">
                <a16:creationId xmlns:a16="http://schemas.microsoft.com/office/drawing/2014/main" id="{A90E5C25-09D2-4942-83F8-411A329AD38B}"/>
              </a:ext>
            </a:extLst>
          </p:cNvPr>
          <p:cNvSpPr txBox="1"/>
          <p:nvPr/>
        </p:nvSpPr>
        <p:spPr>
          <a:xfrm>
            <a:off x="1105385" y="3871427"/>
            <a:ext cx="2714937" cy="1477328"/>
          </a:xfrm>
          <a:prstGeom prst="rect">
            <a:avLst/>
          </a:prstGeom>
          <a:noFill/>
        </p:spPr>
        <p:txBody>
          <a:bodyPr wrap="square" lIns="0" tIns="0" rIns="0" bIns="0" rtlCol="0">
            <a:spAutoFit/>
          </a:bodyPr>
          <a:lstStyle/>
          <a:p>
            <a:pPr marL="0" marR="0" lvl="0" indent="0" algn="ctr" defTabSz="914335" rtl="0" eaLnBrk="1" fontAlgn="auto" latinLnBrk="0" hangingPunct="1">
              <a:lnSpc>
                <a:spcPct val="100000"/>
              </a:lnSpc>
              <a:spcBef>
                <a:spcPts val="600"/>
              </a:spcBef>
              <a:spcAft>
                <a:spcPts val="0"/>
              </a:spcAft>
              <a:buClrTx/>
              <a:buSzPct val="100000"/>
              <a:buFontTx/>
              <a:buNone/>
              <a:tabLst/>
              <a:defRPr/>
            </a:pPr>
            <a:r>
              <a:rPr lang="en-US" sz="3200" b="1" dirty="0">
                <a:solidFill>
                  <a:prstClr val="white"/>
                </a:solidFill>
                <a:latin typeface="Calibri Light" panose="020F0302020204030204" pitchFamily="34" charset="0"/>
                <a:cs typeface="Calibri Light" panose="020F0302020204030204" pitchFamily="34" charset="0"/>
              </a:rPr>
              <a:t>Opportunities Amidst Challenges</a:t>
            </a:r>
            <a:endParaRPr kumimoji="0" lang="en-US" sz="32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0988494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8207245-51CF-4E4F-847C-D768EE10210B}"/>
              </a:ext>
            </a:extLst>
          </p:cNvPr>
          <p:cNvSpPr>
            <a:spLocks noGrp="1"/>
          </p:cNvSpPr>
          <p:nvPr>
            <p:ph type="title"/>
          </p:nvPr>
        </p:nvSpPr>
        <p:spPr>
          <a:xfrm>
            <a:off x="501651" y="273958"/>
            <a:ext cx="11162349" cy="247984"/>
          </a:xfrm>
        </p:spPr>
        <p:txBody>
          <a:bodyPr/>
          <a:lstStyle/>
          <a:p>
            <a:r>
              <a:rPr lang="en-US" b="1" dirty="0"/>
              <a:t>Opportunities Amidst Challenges</a:t>
            </a:r>
          </a:p>
        </p:txBody>
      </p:sp>
      <p:sp>
        <p:nvSpPr>
          <p:cNvPr id="5" name="TextBox 4">
            <a:extLst>
              <a:ext uri="{FF2B5EF4-FFF2-40B4-BE49-F238E27FC236}">
                <a16:creationId xmlns:a16="http://schemas.microsoft.com/office/drawing/2014/main" id="{C1180291-4FB7-C678-9FA7-A73FD8C21F89}"/>
              </a:ext>
            </a:extLst>
          </p:cNvPr>
          <p:cNvSpPr txBox="1"/>
          <p:nvPr/>
        </p:nvSpPr>
        <p:spPr>
          <a:xfrm>
            <a:off x="451143" y="672380"/>
            <a:ext cx="10478114" cy="343620"/>
          </a:xfrm>
          <a:prstGeom prst="rect">
            <a:avLst/>
          </a:prstGeom>
          <a:noFill/>
        </p:spPr>
        <p:txBody>
          <a:bodyPr wrap="square">
            <a:spAutoFit/>
          </a:bodyPr>
          <a:lstStyle/>
          <a:p>
            <a:pPr defTabSz="914406">
              <a:defRPr/>
            </a:pPr>
            <a:r>
              <a:rPr lang="en-US" sz="1633" dirty="0">
                <a:solidFill>
                  <a:schemeClr val="bg2"/>
                </a:solidFill>
                <a:latin typeface="Calibri Light" panose="020F0302020204030204" pitchFamily="34" charset="0"/>
                <a:ea typeface="Verdana" panose="020B0604030504040204" pitchFamily="34" charset="0"/>
                <a:cs typeface="Calibri Light" panose="020F0302020204030204" pitchFamily="34" charset="0"/>
              </a:rPr>
              <a:t>The challenges in Liberia's energy sector present unique opportunities for investors:</a:t>
            </a:r>
          </a:p>
        </p:txBody>
      </p:sp>
      <p:grpSp>
        <p:nvGrpSpPr>
          <p:cNvPr id="3" name="Group 2">
            <a:extLst>
              <a:ext uri="{FF2B5EF4-FFF2-40B4-BE49-F238E27FC236}">
                <a16:creationId xmlns:a16="http://schemas.microsoft.com/office/drawing/2014/main" id="{1FFEAB20-6CDD-5767-1448-921A12F34F47}"/>
              </a:ext>
            </a:extLst>
          </p:cNvPr>
          <p:cNvGrpSpPr/>
          <p:nvPr/>
        </p:nvGrpSpPr>
        <p:grpSpPr>
          <a:xfrm>
            <a:off x="892906" y="1237304"/>
            <a:ext cx="9903152" cy="4683990"/>
            <a:chOff x="813467" y="1080087"/>
            <a:chExt cx="9903152" cy="4697825"/>
          </a:xfrm>
        </p:grpSpPr>
        <p:sp>
          <p:nvSpPr>
            <p:cNvPr id="4" name="Rectangle 25">
              <a:extLst>
                <a:ext uri="{FF2B5EF4-FFF2-40B4-BE49-F238E27FC236}">
                  <a16:creationId xmlns:a16="http://schemas.microsoft.com/office/drawing/2014/main" id="{14E9BFDC-B2B7-56C3-B5B1-55E3FCA4A4ED}"/>
                </a:ext>
              </a:extLst>
            </p:cNvPr>
            <p:cNvSpPr/>
            <p:nvPr/>
          </p:nvSpPr>
          <p:spPr>
            <a:xfrm rot="15865758">
              <a:off x="3706074" y="2557445"/>
              <a:ext cx="2311443" cy="1421663"/>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Verdana"/>
                <a:ea typeface="+mn-ea"/>
                <a:cs typeface="+mn-cs"/>
              </a:endParaRPr>
            </a:p>
          </p:txBody>
        </p:sp>
        <p:sp>
          <p:nvSpPr>
            <p:cNvPr id="7" name="Rectangle 25">
              <a:extLst>
                <a:ext uri="{FF2B5EF4-FFF2-40B4-BE49-F238E27FC236}">
                  <a16:creationId xmlns:a16="http://schemas.microsoft.com/office/drawing/2014/main" id="{47ED2393-F2A8-097B-BF8F-0857C9506195}"/>
                </a:ext>
              </a:extLst>
            </p:cNvPr>
            <p:cNvSpPr/>
            <p:nvPr/>
          </p:nvSpPr>
          <p:spPr>
            <a:xfrm rot="1474996">
              <a:off x="4803897" y="1898276"/>
              <a:ext cx="2313528" cy="1518683"/>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Verdana"/>
                <a:ea typeface="+mn-ea"/>
                <a:cs typeface="+mn-cs"/>
              </a:endParaRPr>
            </a:p>
          </p:txBody>
        </p:sp>
        <p:sp>
          <p:nvSpPr>
            <p:cNvPr id="8" name="Rectangle 25">
              <a:extLst>
                <a:ext uri="{FF2B5EF4-FFF2-40B4-BE49-F238E27FC236}">
                  <a16:creationId xmlns:a16="http://schemas.microsoft.com/office/drawing/2014/main" id="{335408F7-ABED-C7FD-99AF-5E1402B67BF9}"/>
                </a:ext>
              </a:extLst>
            </p:cNvPr>
            <p:cNvSpPr/>
            <p:nvPr/>
          </p:nvSpPr>
          <p:spPr>
            <a:xfrm rot="19567255">
              <a:off x="5030129" y="3336611"/>
              <a:ext cx="2366487" cy="1455288"/>
            </a:xfrm>
            <a:custGeom>
              <a:avLst/>
              <a:gdLst>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 name="connsiteX0" fmla="*/ 0 w 1926404"/>
                <a:gd name="connsiteY0" fmla="*/ 0 h 672957"/>
                <a:gd name="connsiteX1" fmla="*/ 1926404 w 1926404"/>
                <a:gd name="connsiteY1" fmla="*/ 0 h 672957"/>
                <a:gd name="connsiteX2" fmla="*/ 1926404 w 1926404"/>
                <a:gd name="connsiteY2" fmla="*/ 672957 h 672957"/>
                <a:gd name="connsiteX3" fmla="*/ 0 w 1926404"/>
                <a:gd name="connsiteY3" fmla="*/ 672957 h 672957"/>
                <a:gd name="connsiteX4" fmla="*/ 0 w 1926404"/>
                <a:gd name="connsiteY4" fmla="*/ 0 h 672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6404" h="672957">
                  <a:moveTo>
                    <a:pt x="0" y="0"/>
                  </a:moveTo>
                  <a:cubicBezTo>
                    <a:pt x="719191" y="231168"/>
                    <a:pt x="1212349" y="195209"/>
                    <a:pt x="1926404" y="0"/>
                  </a:cubicBezTo>
                  <a:lnTo>
                    <a:pt x="1926404" y="672957"/>
                  </a:lnTo>
                  <a:cubicBezTo>
                    <a:pt x="1284269" y="375007"/>
                    <a:pt x="621586" y="349321"/>
                    <a:pt x="0" y="672957"/>
                  </a:cubicBezTo>
                  <a:lnTo>
                    <a:pt x="0" y="0"/>
                  </a:lnTo>
                  <a:close/>
                </a:path>
              </a:pathLst>
            </a:custGeom>
            <a:solidFill>
              <a:srgbClr val="D0D0CE"/>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Verdana"/>
                <a:ea typeface="+mn-ea"/>
                <a:cs typeface="+mn-cs"/>
              </a:endParaRPr>
            </a:p>
          </p:txBody>
        </p:sp>
        <p:grpSp>
          <p:nvGrpSpPr>
            <p:cNvPr id="10" name="Group 9">
              <a:extLst>
                <a:ext uri="{FF2B5EF4-FFF2-40B4-BE49-F238E27FC236}">
                  <a16:creationId xmlns:a16="http://schemas.microsoft.com/office/drawing/2014/main" id="{6E4D7577-2216-2F6F-C86A-AF37E3C227D0}"/>
                </a:ext>
              </a:extLst>
            </p:cNvPr>
            <p:cNvGrpSpPr/>
            <p:nvPr/>
          </p:nvGrpSpPr>
          <p:grpSpPr>
            <a:xfrm>
              <a:off x="4810271" y="2453504"/>
              <a:ext cx="1728000" cy="1728000"/>
              <a:chOff x="4930922" y="2432403"/>
              <a:chExt cx="1728000" cy="1728000"/>
            </a:xfrm>
          </p:grpSpPr>
          <p:sp>
            <p:nvSpPr>
              <p:cNvPr id="69" name="Oval 68">
                <a:extLst>
                  <a:ext uri="{FF2B5EF4-FFF2-40B4-BE49-F238E27FC236}">
                    <a16:creationId xmlns:a16="http://schemas.microsoft.com/office/drawing/2014/main" id="{FD5D8DDA-676E-71FC-1E9D-F7929C51E934}"/>
                  </a:ext>
                </a:extLst>
              </p:cNvPr>
              <p:cNvSpPr/>
              <p:nvPr/>
            </p:nvSpPr>
            <p:spPr>
              <a:xfrm>
                <a:off x="4930922" y="2432403"/>
                <a:ext cx="1728000" cy="1728000"/>
              </a:xfrm>
              <a:prstGeom prst="ellipse">
                <a:avLst/>
              </a:prstGeom>
              <a:solidFill>
                <a:schemeClr val="accent1"/>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Verdana"/>
                  <a:ea typeface="+mn-ea"/>
                  <a:cs typeface="+mn-cs"/>
                </a:endParaRPr>
              </a:p>
            </p:txBody>
          </p:sp>
          <p:sp>
            <p:nvSpPr>
              <p:cNvPr id="70" name="Oval 69">
                <a:extLst>
                  <a:ext uri="{FF2B5EF4-FFF2-40B4-BE49-F238E27FC236}">
                    <a16:creationId xmlns:a16="http://schemas.microsoft.com/office/drawing/2014/main" id="{475A856F-BEED-A6C6-128F-227DEE2E533E}"/>
                  </a:ext>
                </a:extLst>
              </p:cNvPr>
              <p:cNvSpPr/>
              <p:nvPr/>
            </p:nvSpPr>
            <p:spPr>
              <a:xfrm>
                <a:off x="4980620" y="2487624"/>
                <a:ext cx="1620000" cy="1620000"/>
              </a:xfrm>
              <a:prstGeom prst="ellipse">
                <a:avLst/>
              </a:prstGeom>
              <a:solidFill>
                <a:sysClr val="window" lastClr="FFFFFF"/>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Verdana"/>
                  <a:ea typeface="+mn-ea"/>
                  <a:cs typeface="+mn-cs"/>
                </a:endParaRPr>
              </a:p>
            </p:txBody>
          </p:sp>
        </p:grpSp>
        <p:grpSp>
          <p:nvGrpSpPr>
            <p:cNvPr id="45" name="Group 44">
              <a:extLst>
                <a:ext uri="{FF2B5EF4-FFF2-40B4-BE49-F238E27FC236}">
                  <a16:creationId xmlns:a16="http://schemas.microsoft.com/office/drawing/2014/main" id="{6A2CB671-E03F-6151-164C-F5AA09947E8F}"/>
                </a:ext>
              </a:extLst>
            </p:cNvPr>
            <p:cNvGrpSpPr/>
            <p:nvPr/>
          </p:nvGrpSpPr>
          <p:grpSpPr>
            <a:xfrm>
              <a:off x="3719007" y="1080087"/>
              <a:ext cx="1728000" cy="1728000"/>
              <a:chOff x="3839658" y="1082632"/>
              <a:chExt cx="1728000" cy="1728000"/>
            </a:xfrm>
          </p:grpSpPr>
          <p:sp>
            <p:nvSpPr>
              <p:cNvPr id="63" name="Oval 62">
                <a:extLst>
                  <a:ext uri="{FF2B5EF4-FFF2-40B4-BE49-F238E27FC236}">
                    <a16:creationId xmlns:a16="http://schemas.microsoft.com/office/drawing/2014/main" id="{2FD1B1DB-07BD-789F-1156-E6E772BE773A}"/>
                  </a:ext>
                </a:extLst>
              </p:cNvPr>
              <p:cNvSpPr/>
              <p:nvPr/>
            </p:nvSpPr>
            <p:spPr>
              <a:xfrm>
                <a:off x="3839658" y="1082632"/>
                <a:ext cx="1728000" cy="1728000"/>
              </a:xfrm>
              <a:prstGeom prst="ellipse">
                <a:avLst/>
              </a:prstGeom>
              <a:solidFill>
                <a:srgbClr val="43B02A"/>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Verdana"/>
                  <a:ea typeface="+mn-ea"/>
                  <a:cs typeface="+mn-cs"/>
                </a:endParaRPr>
              </a:p>
            </p:txBody>
          </p:sp>
          <p:sp>
            <p:nvSpPr>
              <p:cNvPr id="67" name="Oval 66">
                <a:extLst>
                  <a:ext uri="{FF2B5EF4-FFF2-40B4-BE49-F238E27FC236}">
                    <a16:creationId xmlns:a16="http://schemas.microsoft.com/office/drawing/2014/main" id="{9CB939D4-F55E-C823-C746-7D987CACEF2B}"/>
                  </a:ext>
                </a:extLst>
              </p:cNvPr>
              <p:cNvSpPr/>
              <p:nvPr/>
            </p:nvSpPr>
            <p:spPr>
              <a:xfrm>
                <a:off x="3893658" y="1139196"/>
                <a:ext cx="1620000" cy="1620000"/>
              </a:xfrm>
              <a:prstGeom prst="ellipse">
                <a:avLst/>
              </a:prstGeom>
              <a:solidFill>
                <a:sysClr val="window" lastClr="FFFFFF"/>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Verdana"/>
                  <a:ea typeface="+mn-ea"/>
                  <a:cs typeface="+mn-cs"/>
                </a:endParaRPr>
              </a:p>
            </p:txBody>
          </p:sp>
          <p:sp>
            <p:nvSpPr>
              <p:cNvPr id="68" name="TextBox 67">
                <a:extLst>
                  <a:ext uri="{FF2B5EF4-FFF2-40B4-BE49-F238E27FC236}">
                    <a16:creationId xmlns:a16="http://schemas.microsoft.com/office/drawing/2014/main" id="{0BB1DA56-16A1-3F58-A0C2-BEEFFF49860C}"/>
                  </a:ext>
                </a:extLst>
              </p:cNvPr>
              <p:cNvSpPr txBox="1"/>
              <p:nvPr/>
            </p:nvSpPr>
            <p:spPr>
              <a:xfrm>
                <a:off x="4651560" y="1301747"/>
                <a:ext cx="104196"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43B02A"/>
                    </a:solidFill>
                    <a:effectLst/>
                    <a:uLnTx/>
                    <a:uFillTx/>
                    <a:latin typeface="Calibri"/>
                    <a:ea typeface="+mn-ea"/>
                    <a:cs typeface="+mn-cs"/>
                  </a:rPr>
                  <a:t>1</a:t>
                </a:r>
                <a:endParaRPr kumimoji="0" lang="en-US" sz="1600" b="1" i="0" u="none" strike="noStrike" kern="0" cap="none" spc="0" normalizeH="0" baseline="0" noProof="0" dirty="0">
                  <a:ln>
                    <a:noFill/>
                  </a:ln>
                  <a:solidFill>
                    <a:srgbClr val="43B02A"/>
                  </a:solidFill>
                  <a:effectLst/>
                  <a:uLnTx/>
                  <a:uFillTx/>
                  <a:latin typeface="Verdana"/>
                  <a:ea typeface="+mn-ea"/>
                  <a:cs typeface="+mn-cs"/>
                </a:endParaRPr>
              </a:p>
            </p:txBody>
          </p:sp>
        </p:grpSp>
        <p:grpSp>
          <p:nvGrpSpPr>
            <p:cNvPr id="46" name="Group 45">
              <a:extLst>
                <a:ext uri="{FF2B5EF4-FFF2-40B4-BE49-F238E27FC236}">
                  <a16:creationId xmlns:a16="http://schemas.microsoft.com/office/drawing/2014/main" id="{EF25E37A-5D13-3A37-F5D4-E685912D08F4}"/>
                </a:ext>
              </a:extLst>
            </p:cNvPr>
            <p:cNvGrpSpPr/>
            <p:nvPr/>
          </p:nvGrpSpPr>
          <p:grpSpPr>
            <a:xfrm>
              <a:off x="6553514" y="2429857"/>
              <a:ext cx="1728000" cy="1728000"/>
              <a:chOff x="6674165" y="2432402"/>
              <a:chExt cx="1728000" cy="1728000"/>
            </a:xfrm>
          </p:grpSpPr>
          <p:sp>
            <p:nvSpPr>
              <p:cNvPr id="60" name="Oval 59">
                <a:extLst>
                  <a:ext uri="{FF2B5EF4-FFF2-40B4-BE49-F238E27FC236}">
                    <a16:creationId xmlns:a16="http://schemas.microsoft.com/office/drawing/2014/main" id="{37D37847-11A8-9D58-B4AB-FEC982DF8C74}"/>
                  </a:ext>
                </a:extLst>
              </p:cNvPr>
              <p:cNvSpPr/>
              <p:nvPr/>
            </p:nvSpPr>
            <p:spPr>
              <a:xfrm>
                <a:off x="6674165" y="2432402"/>
                <a:ext cx="1728000" cy="1728000"/>
              </a:xfrm>
              <a:prstGeom prst="ellipse">
                <a:avLst/>
              </a:prstGeom>
              <a:solidFill>
                <a:schemeClr val="accent3"/>
              </a:solidFill>
              <a:ln w="12700" cap="flat" cmpd="sng" algn="ctr">
                <a:solidFill>
                  <a:schemeClr val="accent3"/>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Verdana"/>
                  <a:ea typeface="+mn-ea"/>
                  <a:cs typeface="+mn-cs"/>
                </a:endParaRPr>
              </a:p>
            </p:txBody>
          </p:sp>
          <p:sp>
            <p:nvSpPr>
              <p:cNvPr id="61" name="Oval 60">
                <a:extLst>
                  <a:ext uri="{FF2B5EF4-FFF2-40B4-BE49-F238E27FC236}">
                    <a16:creationId xmlns:a16="http://schemas.microsoft.com/office/drawing/2014/main" id="{3FDF61BE-2511-78AC-A670-EEB90FBA7C3D}"/>
                  </a:ext>
                </a:extLst>
              </p:cNvPr>
              <p:cNvSpPr/>
              <p:nvPr/>
            </p:nvSpPr>
            <p:spPr>
              <a:xfrm>
                <a:off x="6728165" y="2490262"/>
                <a:ext cx="1620000" cy="1620000"/>
              </a:xfrm>
              <a:prstGeom prst="ellipse">
                <a:avLst/>
              </a:prstGeom>
              <a:solidFill>
                <a:sysClr val="window" lastClr="FFFFFF"/>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Verdana"/>
                  <a:ea typeface="+mn-ea"/>
                  <a:cs typeface="+mn-cs"/>
                </a:endParaRPr>
              </a:p>
            </p:txBody>
          </p:sp>
          <p:sp>
            <p:nvSpPr>
              <p:cNvPr id="62" name="TextBox 61">
                <a:extLst>
                  <a:ext uri="{FF2B5EF4-FFF2-40B4-BE49-F238E27FC236}">
                    <a16:creationId xmlns:a16="http://schemas.microsoft.com/office/drawing/2014/main" id="{399C2924-53CD-9450-2371-DD1B6E3B2DD6}"/>
                  </a:ext>
                </a:extLst>
              </p:cNvPr>
              <p:cNvSpPr txBox="1"/>
              <p:nvPr/>
            </p:nvSpPr>
            <p:spPr>
              <a:xfrm>
                <a:off x="7486067" y="2699741"/>
                <a:ext cx="104196"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3"/>
                    </a:solidFill>
                    <a:effectLst/>
                    <a:uLnTx/>
                    <a:uFillTx/>
                    <a:latin typeface="Calibri"/>
                    <a:ea typeface="+mn-ea"/>
                    <a:cs typeface="+mn-cs"/>
                  </a:rPr>
                  <a:t>2</a:t>
                </a:r>
                <a:endParaRPr kumimoji="0" lang="en-US" sz="1600" b="1" i="0" u="none" strike="noStrike" kern="0" cap="none" spc="0" normalizeH="0" baseline="0" noProof="0" dirty="0">
                  <a:ln>
                    <a:noFill/>
                  </a:ln>
                  <a:solidFill>
                    <a:schemeClr val="accent3"/>
                  </a:solidFill>
                  <a:effectLst/>
                  <a:uLnTx/>
                  <a:uFillTx/>
                  <a:latin typeface="Verdana"/>
                  <a:ea typeface="+mn-ea"/>
                  <a:cs typeface="+mn-cs"/>
                </a:endParaRPr>
              </a:p>
            </p:txBody>
          </p:sp>
        </p:grpSp>
        <p:grpSp>
          <p:nvGrpSpPr>
            <p:cNvPr id="47" name="Group 46">
              <a:extLst>
                <a:ext uri="{FF2B5EF4-FFF2-40B4-BE49-F238E27FC236}">
                  <a16:creationId xmlns:a16="http://schemas.microsoft.com/office/drawing/2014/main" id="{17217FC8-A981-CED4-39C7-9C065DFFFD45}"/>
                </a:ext>
              </a:extLst>
            </p:cNvPr>
            <p:cNvGrpSpPr/>
            <p:nvPr/>
          </p:nvGrpSpPr>
          <p:grpSpPr>
            <a:xfrm>
              <a:off x="4068204" y="4049912"/>
              <a:ext cx="1728000" cy="1728000"/>
              <a:chOff x="4188855" y="4052457"/>
              <a:chExt cx="1728000" cy="1728000"/>
            </a:xfrm>
          </p:grpSpPr>
          <p:sp>
            <p:nvSpPr>
              <p:cNvPr id="53" name="Oval 52">
                <a:extLst>
                  <a:ext uri="{FF2B5EF4-FFF2-40B4-BE49-F238E27FC236}">
                    <a16:creationId xmlns:a16="http://schemas.microsoft.com/office/drawing/2014/main" id="{E509A7F7-260E-234D-7878-241C9FA7A10C}"/>
                  </a:ext>
                </a:extLst>
              </p:cNvPr>
              <p:cNvSpPr/>
              <p:nvPr/>
            </p:nvSpPr>
            <p:spPr>
              <a:xfrm>
                <a:off x="4188855" y="4052457"/>
                <a:ext cx="1728000" cy="1728000"/>
              </a:xfrm>
              <a:prstGeom prst="ellipse">
                <a:avLst/>
              </a:prstGeom>
              <a:solidFill>
                <a:schemeClr val="accent4"/>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Verdana"/>
                  <a:ea typeface="+mn-ea"/>
                  <a:cs typeface="+mn-cs"/>
                </a:endParaRPr>
              </a:p>
            </p:txBody>
          </p:sp>
          <p:sp>
            <p:nvSpPr>
              <p:cNvPr id="54" name="Oval 53">
                <a:extLst>
                  <a:ext uri="{FF2B5EF4-FFF2-40B4-BE49-F238E27FC236}">
                    <a16:creationId xmlns:a16="http://schemas.microsoft.com/office/drawing/2014/main" id="{55263393-2729-3F48-5915-BC96B872769C}"/>
                  </a:ext>
                </a:extLst>
              </p:cNvPr>
              <p:cNvSpPr/>
              <p:nvPr/>
            </p:nvSpPr>
            <p:spPr>
              <a:xfrm>
                <a:off x="4242855" y="4108872"/>
                <a:ext cx="1620000" cy="1620000"/>
              </a:xfrm>
              <a:prstGeom prst="ellipse">
                <a:avLst/>
              </a:prstGeom>
              <a:solidFill>
                <a:sysClr val="window" lastClr="FFFFFF"/>
              </a:solidFill>
              <a:ln w="127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prstClr val="white"/>
                  </a:solidFill>
                  <a:effectLst/>
                  <a:uLnTx/>
                  <a:uFillTx/>
                  <a:latin typeface="Verdana"/>
                  <a:ea typeface="+mn-ea"/>
                  <a:cs typeface="+mn-cs"/>
                </a:endParaRPr>
              </a:p>
            </p:txBody>
          </p:sp>
          <p:sp>
            <p:nvSpPr>
              <p:cNvPr id="58" name="TextBox 57">
                <a:extLst>
                  <a:ext uri="{FF2B5EF4-FFF2-40B4-BE49-F238E27FC236}">
                    <a16:creationId xmlns:a16="http://schemas.microsoft.com/office/drawing/2014/main" id="{60382672-F96E-9521-BCD7-9E91AD0D431A}"/>
                  </a:ext>
                </a:extLst>
              </p:cNvPr>
              <p:cNvSpPr txBox="1"/>
              <p:nvPr/>
            </p:nvSpPr>
            <p:spPr>
              <a:xfrm>
                <a:off x="5000757" y="4322033"/>
                <a:ext cx="104196"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4"/>
                    </a:solidFill>
                    <a:effectLst/>
                    <a:uLnTx/>
                    <a:uFillTx/>
                    <a:latin typeface="Calibri"/>
                    <a:ea typeface="+mn-ea"/>
                    <a:cs typeface="+mn-cs"/>
                  </a:rPr>
                  <a:t>3</a:t>
                </a:r>
                <a:endParaRPr kumimoji="0" lang="en-US" sz="1600" b="1" i="0" u="none" strike="noStrike" kern="0" cap="none" spc="0" normalizeH="0" baseline="0" noProof="0" dirty="0">
                  <a:ln>
                    <a:noFill/>
                  </a:ln>
                  <a:solidFill>
                    <a:schemeClr val="accent4"/>
                  </a:solidFill>
                  <a:effectLst/>
                  <a:uLnTx/>
                  <a:uFillTx/>
                  <a:latin typeface="Verdana"/>
                  <a:ea typeface="+mn-ea"/>
                  <a:cs typeface="+mn-cs"/>
                </a:endParaRPr>
              </a:p>
            </p:txBody>
          </p:sp>
        </p:grpSp>
        <p:sp>
          <p:nvSpPr>
            <p:cNvPr id="48" name="Rectangle 47">
              <a:extLst>
                <a:ext uri="{FF2B5EF4-FFF2-40B4-BE49-F238E27FC236}">
                  <a16:creationId xmlns:a16="http://schemas.microsoft.com/office/drawing/2014/main" id="{6C219D33-D325-8580-387A-3A8EE1FB5936}"/>
                </a:ext>
              </a:extLst>
            </p:cNvPr>
            <p:cNvSpPr/>
            <p:nvPr/>
          </p:nvSpPr>
          <p:spPr>
            <a:xfrm>
              <a:off x="825752" y="1220486"/>
              <a:ext cx="2568304" cy="21544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2"/>
                  </a:solidFill>
                  <a:effectLst/>
                  <a:uLnTx/>
                  <a:uFillTx/>
                  <a:cs typeface="Calibri Light" panose="020F0302020204030204" pitchFamily="34" charset="0"/>
                </a:rPr>
                <a:t>1.Renewable Energy: </a:t>
              </a:r>
            </a:p>
          </p:txBody>
        </p:sp>
        <p:sp>
          <p:nvSpPr>
            <p:cNvPr id="49" name="Rectangle 48">
              <a:extLst>
                <a:ext uri="{FF2B5EF4-FFF2-40B4-BE49-F238E27FC236}">
                  <a16:creationId xmlns:a16="http://schemas.microsoft.com/office/drawing/2014/main" id="{57752689-DDDA-7598-0536-0F8CC0C93B5C}"/>
                </a:ext>
              </a:extLst>
            </p:cNvPr>
            <p:cNvSpPr/>
            <p:nvPr/>
          </p:nvSpPr>
          <p:spPr>
            <a:xfrm>
              <a:off x="8148315" y="1661774"/>
              <a:ext cx="2568304" cy="21608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cs typeface="Calibri Light" panose="020F0302020204030204" pitchFamily="34" charset="0"/>
                </a:rPr>
                <a:t>2.Infrastructure Development</a:t>
              </a:r>
            </a:p>
          </p:txBody>
        </p:sp>
        <p:sp>
          <p:nvSpPr>
            <p:cNvPr id="51" name="Rectangle 50">
              <a:extLst>
                <a:ext uri="{FF2B5EF4-FFF2-40B4-BE49-F238E27FC236}">
                  <a16:creationId xmlns:a16="http://schemas.microsoft.com/office/drawing/2014/main" id="{7CEB0564-4B02-7C55-94EF-FCD7E4C8FBBE}"/>
                </a:ext>
              </a:extLst>
            </p:cNvPr>
            <p:cNvSpPr/>
            <p:nvPr/>
          </p:nvSpPr>
          <p:spPr>
            <a:xfrm>
              <a:off x="5938333" y="4948833"/>
              <a:ext cx="2997810" cy="21544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3"/>
                  </a:solidFill>
                  <a:effectLst/>
                  <a:uLnTx/>
                  <a:uFillTx/>
                  <a:cs typeface="Calibri Light" panose="020F0302020204030204" pitchFamily="34" charset="0"/>
                </a:rPr>
                <a:t>3.Off-grid Solutions</a:t>
              </a:r>
            </a:p>
          </p:txBody>
        </p:sp>
        <p:sp>
          <p:nvSpPr>
            <p:cNvPr id="52" name="TextBox 51">
              <a:extLst>
                <a:ext uri="{FF2B5EF4-FFF2-40B4-BE49-F238E27FC236}">
                  <a16:creationId xmlns:a16="http://schemas.microsoft.com/office/drawing/2014/main" id="{3EC83F22-3228-8BF5-76C3-7002C72CC55C}"/>
                </a:ext>
              </a:extLst>
            </p:cNvPr>
            <p:cNvSpPr txBox="1"/>
            <p:nvPr/>
          </p:nvSpPr>
          <p:spPr>
            <a:xfrm>
              <a:off x="813467" y="1452769"/>
              <a:ext cx="2946041" cy="771714"/>
            </a:xfrm>
            <a:prstGeom prst="rect">
              <a:avLst/>
            </a:prstGeom>
            <a:noFill/>
          </p:spPr>
          <p:txBody>
            <a:bodyPr wrap="square">
              <a:spAutoFit/>
            </a:bodyPr>
            <a:lstStyle/>
            <a:p>
              <a:r>
                <a:rPr lang="en-US" sz="1100" dirty="0"/>
                <a:t>Liberia’s abundant natural resources, such as sunlight and water, offer vast potential for renewable energy projects, including solar and hydropower.</a:t>
              </a:r>
            </a:p>
          </p:txBody>
        </p:sp>
      </p:grpSp>
      <p:sp>
        <p:nvSpPr>
          <p:cNvPr id="71" name="TextBox 70">
            <a:extLst>
              <a:ext uri="{FF2B5EF4-FFF2-40B4-BE49-F238E27FC236}">
                <a16:creationId xmlns:a16="http://schemas.microsoft.com/office/drawing/2014/main" id="{33B8C450-A03B-32CC-1F28-8D6D3EF74415}"/>
              </a:ext>
            </a:extLst>
          </p:cNvPr>
          <p:cNvSpPr txBox="1"/>
          <p:nvPr/>
        </p:nvSpPr>
        <p:spPr>
          <a:xfrm>
            <a:off x="8132368" y="1993609"/>
            <a:ext cx="2997810" cy="769441"/>
          </a:xfrm>
          <a:prstGeom prst="rect">
            <a:avLst/>
          </a:prstGeom>
          <a:noFill/>
        </p:spPr>
        <p:txBody>
          <a:bodyPr wrap="square">
            <a:spAutoFit/>
          </a:bodyPr>
          <a:lstStyle/>
          <a:p>
            <a:pPr algn="just"/>
            <a:r>
              <a:rPr lang="en-US" sz="1100" dirty="0"/>
              <a:t>There is a significant need for infrastructure development, including grid expansion and modernization, which presents numerous investment opportunities</a:t>
            </a:r>
          </a:p>
        </p:txBody>
      </p:sp>
      <p:sp>
        <p:nvSpPr>
          <p:cNvPr id="72" name="TextBox 71">
            <a:extLst>
              <a:ext uri="{FF2B5EF4-FFF2-40B4-BE49-F238E27FC236}">
                <a16:creationId xmlns:a16="http://schemas.microsoft.com/office/drawing/2014/main" id="{0AD2014A-ABCA-A14A-AEF3-9A38B1477969}"/>
              </a:ext>
            </a:extLst>
          </p:cNvPr>
          <p:cNvSpPr txBox="1"/>
          <p:nvPr/>
        </p:nvSpPr>
        <p:spPr>
          <a:xfrm>
            <a:off x="5887221" y="5241341"/>
            <a:ext cx="4617263" cy="430887"/>
          </a:xfrm>
          <a:prstGeom prst="rect">
            <a:avLst/>
          </a:prstGeom>
          <a:noFill/>
        </p:spPr>
        <p:txBody>
          <a:bodyPr wrap="square">
            <a:spAutoFit/>
          </a:bodyPr>
          <a:lstStyle/>
          <a:p>
            <a:pPr algn="just"/>
            <a:r>
              <a:rPr lang="en-US" sz="1100" dirty="0"/>
              <a:t>Given the dispersed population, off-grid and mini-grid solutions are viable investment opportunities, providing decentralized and efficient power supply</a:t>
            </a:r>
          </a:p>
        </p:txBody>
      </p:sp>
      <p:pic>
        <p:nvPicPr>
          <p:cNvPr id="73" name="Picture 2">
            <a:extLst>
              <a:ext uri="{FF2B5EF4-FFF2-40B4-BE49-F238E27FC236}">
                <a16:creationId xmlns:a16="http://schemas.microsoft.com/office/drawing/2014/main" id="{42D6F868-C7C2-4772-CE20-E7AFE938FD8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t="85" b="85"/>
          <a:stretch/>
        </p:blipFill>
        <p:spPr bwMode="auto">
          <a:xfrm>
            <a:off x="4978000" y="2758565"/>
            <a:ext cx="1428545" cy="1424338"/>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4" name="Group 73">
            <a:extLst>
              <a:ext uri="{FF2B5EF4-FFF2-40B4-BE49-F238E27FC236}">
                <a16:creationId xmlns:a16="http://schemas.microsoft.com/office/drawing/2014/main" id="{C3A71ED0-01C5-3907-ABC6-E2E5EDE63542}"/>
              </a:ext>
            </a:extLst>
          </p:cNvPr>
          <p:cNvGrpSpPr>
            <a:grpSpLocks noChangeAspect="1"/>
          </p:cNvGrpSpPr>
          <p:nvPr/>
        </p:nvGrpSpPr>
        <p:grpSpPr>
          <a:xfrm>
            <a:off x="4237743" y="1746761"/>
            <a:ext cx="783576" cy="777342"/>
            <a:chOff x="5672138" y="4513263"/>
            <a:chExt cx="1579562" cy="1571625"/>
          </a:xfrm>
          <a:solidFill>
            <a:schemeClr val="accent2"/>
          </a:solidFill>
        </p:grpSpPr>
        <p:sp>
          <p:nvSpPr>
            <p:cNvPr id="75" name="Rectangle 5">
              <a:extLst>
                <a:ext uri="{FF2B5EF4-FFF2-40B4-BE49-F238E27FC236}">
                  <a16:creationId xmlns:a16="http://schemas.microsoft.com/office/drawing/2014/main" id="{89172ADB-FFE5-188C-D2E8-B48A4DBE77C0}"/>
                </a:ext>
              </a:extLst>
            </p:cNvPr>
            <p:cNvSpPr>
              <a:spLocks noChangeArrowheads="1"/>
            </p:cNvSpPr>
            <p:nvPr/>
          </p:nvSpPr>
          <p:spPr bwMode="auto">
            <a:xfrm>
              <a:off x="6067425"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Oval 6">
              <a:extLst>
                <a:ext uri="{FF2B5EF4-FFF2-40B4-BE49-F238E27FC236}">
                  <a16:creationId xmlns:a16="http://schemas.microsoft.com/office/drawing/2014/main" id="{7FC6A0C8-7233-55ED-25C2-C25B93AC04EC}"/>
                </a:ext>
              </a:extLst>
            </p:cNvPr>
            <p:cNvSpPr>
              <a:spLocks noChangeArrowheads="1"/>
            </p:cNvSpPr>
            <p:nvPr/>
          </p:nvSpPr>
          <p:spPr bwMode="auto">
            <a:xfrm>
              <a:off x="6100763"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Rectangle 7">
              <a:extLst>
                <a:ext uri="{FF2B5EF4-FFF2-40B4-BE49-F238E27FC236}">
                  <a16:creationId xmlns:a16="http://schemas.microsoft.com/office/drawing/2014/main" id="{0A0277E4-1F95-7102-8C42-45FC0B62527E}"/>
                </a:ext>
              </a:extLst>
            </p:cNvPr>
            <p:cNvSpPr>
              <a:spLocks noChangeArrowheads="1"/>
            </p:cNvSpPr>
            <p:nvPr/>
          </p:nvSpPr>
          <p:spPr bwMode="auto">
            <a:xfrm>
              <a:off x="6396038" y="5135563"/>
              <a:ext cx="131762" cy="1968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Oval 8">
              <a:extLst>
                <a:ext uri="{FF2B5EF4-FFF2-40B4-BE49-F238E27FC236}">
                  <a16:creationId xmlns:a16="http://schemas.microsoft.com/office/drawing/2014/main" id="{F9068BBF-864C-2904-8744-98B503DF01F2}"/>
                </a:ext>
              </a:extLst>
            </p:cNvPr>
            <p:cNvSpPr>
              <a:spLocks noChangeArrowheads="1"/>
            </p:cNvSpPr>
            <p:nvPr/>
          </p:nvSpPr>
          <p:spPr bwMode="auto">
            <a:xfrm>
              <a:off x="6429375" y="4873626"/>
              <a:ext cx="65087"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Oval 9">
              <a:extLst>
                <a:ext uri="{FF2B5EF4-FFF2-40B4-BE49-F238E27FC236}">
                  <a16:creationId xmlns:a16="http://schemas.microsoft.com/office/drawing/2014/main" id="{2F6F3F80-736E-80DB-7986-9EF3CBE3453B}"/>
                </a:ext>
              </a:extLst>
            </p:cNvPr>
            <p:cNvSpPr>
              <a:spLocks noChangeArrowheads="1"/>
            </p:cNvSpPr>
            <p:nvPr/>
          </p:nvSpPr>
          <p:spPr bwMode="auto">
            <a:xfrm>
              <a:off x="6757988" y="4873626"/>
              <a:ext cx="66675" cy="65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10">
              <a:extLst>
                <a:ext uri="{FF2B5EF4-FFF2-40B4-BE49-F238E27FC236}">
                  <a16:creationId xmlns:a16="http://schemas.microsoft.com/office/drawing/2014/main" id="{FA7E179D-5783-960D-62F0-A20081418AED}"/>
                </a:ext>
              </a:extLst>
            </p:cNvPr>
            <p:cNvSpPr>
              <a:spLocks noEditPoints="1"/>
            </p:cNvSpPr>
            <p:nvPr/>
          </p:nvSpPr>
          <p:spPr bwMode="auto">
            <a:xfrm>
              <a:off x="5672138" y="4513263"/>
              <a:ext cx="1579562" cy="157162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1">
              <a:extLst>
                <a:ext uri="{FF2B5EF4-FFF2-40B4-BE49-F238E27FC236}">
                  <a16:creationId xmlns:a16="http://schemas.microsoft.com/office/drawing/2014/main" id="{280ED790-7B31-4B99-004E-E9CCD54DA55A}"/>
                </a:ext>
              </a:extLst>
            </p:cNvPr>
            <p:cNvSpPr>
              <a:spLocks/>
            </p:cNvSpPr>
            <p:nvPr/>
          </p:nvSpPr>
          <p:spPr bwMode="auto">
            <a:xfrm>
              <a:off x="6729413" y="5135563"/>
              <a:ext cx="119062" cy="261938"/>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82" name="Freeform 976">
            <a:extLst>
              <a:ext uri="{FF2B5EF4-FFF2-40B4-BE49-F238E27FC236}">
                <a16:creationId xmlns:a16="http://schemas.microsoft.com/office/drawing/2014/main" id="{725B49F8-6336-2BD2-2DDE-DFC98F497EC8}"/>
              </a:ext>
            </a:extLst>
          </p:cNvPr>
          <p:cNvSpPr>
            <a:spLocks noChangeAspect="1" noEditPoints="1"/>
          </p:cNvSpPr>
          <p:nvPr/>
        </p:nvSpPr>
        <p:spPr bwMode="auto">
          <a:xfrm>
            <a:off x="7060148" y="3122741"/>
            <a:ext cx="836774" cy="834308"/>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3" name="Freeform 430">
            <a:extLst>
              <a:ext uri="{FF2B5EF4-FFF2-40B4-BE49-F238E27FC236}">
                <a16:creationId xmlns:a16="http://schemas.microsoft.com/office/drawing/2014/main" id="{8B966096-7A61-1452-3C4C-BD1C66870296}"/>
              </a:ext>
            </a:extLst>
          </p:cNvPr>
          <p:cNvSpPr>
            <a:spLocks noChangeAspect="1" noEditPoints="1"/>
          </p:cNvSpPr>
          <p:nvPr/>
        </p:nvSpPr>
        <p:spPr bwMode="auto">
          <a:xfrm>
            <a:off x="4567926" y="4765878"/>
            <a:ext cx="843390" cy="840906"/>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44457893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Calculator and notepad">
            <a:extLst>
              <a:ext uri="{FF2B5EF4-FFF2-40B4-BE49-F238E27FC236}">
                <a16:creationId xmlns:a16="http://schemas.microsoft.com/office/drawing/2014/main" id="{D5E44962-49CE-4DC5-A317-1F23F929BFC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40" y="135"/>
            <a:ext cx="12189278" cy="6857730"/>
          </a:xfrm>
          <a:prstGeom prst="rect">
            <a:avLst/>
          </a:prstGeom>
        </p:spPr>
      </p:pic>
      <p:grpSp>
        <p:nvGrpSpPr>
          <p:cNvPr id="3" name="Group 2">
            <a:extLst>
              <a:ext uri="{FF2B5EF4-FFF2-40B4-BE49-F238E27FC236}">
                <a16:creationId xmlns:a16="http://schemas.microsoft.com/office/drawing/2014/main" id="{A2633686-B252-4117-B71D-82F282D8A58A}"/>
              </a:ext>
            </a:extLst>
          </p:cNvPr>
          <p:cNvGrpSpPr/>
          <p:nvPr/>
        </p:nvGrpSpPr>
        <p:grpSpPr>
          <a:xfrm rot="10800000">
            <a:off x="557169" y="2323428"/>
            <a:ext cx="3811375" cy="4058207"/>
            <a:chOff x="469900" y="457199"/>
            <a:chExt cx="3024224" cy="3478335"/>
          </a:xfrm>
        </p:grpSpPr>
        <p:sp>
          <p:nvSpPr>
            <p:cNvPr id="7" name="Text Placeholder 5">
              <a:extLst>
                <a:ext uri="{FF2B5EF4-FFF2-40B4-BE49-F238E27FC236}">
                  <a16:creationId xmlns:a16="http://schemas.microsoft.com/office/drawing/2014/main" id="{830C464B-2C34-0A45-9F93-AFD72C96F3EA}"/>
                </a:ext>
              </a:extLst>
            </p:cNvPr>
            <p:cNvSpPr txBox="1">
              <a:spLocks/>
            </p:cNvSpPr>
            <p:nvPr>
              <p:custDataLst>
                <p:tags r:id="rId1"/>
              </p:custDataLst>
            </p:nvPr>
          </p:nvSpPr>
          <p:spPr>
            <a:xfrm rot="5400000">
              <a:off x="242844" y="684255"/>
              <a:ext cx="3478335" cy="3024224"/>
            </a:xfrm>
            <a:prstGeom prst="homePlate">
              <a:avLst>
                <a:gd name="adj" fmla="val 26427"/>
              </a:avLst>
            </a:prstGeom>
            <a:solidFill>
              <a:schemeClr val="tx1">
                <a:alpha val="42000"/>
              </a:schemeClr>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endParaRPr kumimoji="0" lang="en-US" sz="1100" b="1" i="0" u="none" strike="noStrike" kern="1200" cap="none" spc="0" normalizeH="0" baseline="0" noProof="0" dirty="0">
                <a:ln>
                  <a:noFill/>
                </a:ln>
                <a:solidFill>
                  <a:srgbClr val="FFFFFF"/>
                </a:solidFill>
                <a:effectLst/>
                <a:uLnTx/>
                <a:uFillTx/>
                <a:latin typeface="Calibri Light"/>
                <a:ea typeface="+mj-ea"/>
                <a:cs typeface="+mj-cs"/>
              </a:endParaRPr>
            </a:p>
          </p:txBody>
        </p:sp>
        <p:sp>
          <p:nvSpPr>
            <p:cNvPr id="8" name="Text Placeholder 5">
              <a:extLst>
                <a:ext uri="{FF2B5EF4-FFF2-40B4-BE49-F238E27FC236}">
                  <a16:creationId xmlns:a16="http://schemas.microsoft.com/office/drawing/2014/main" id="{095FC11C-AA67-3A43-8D6D-568D9091AAD2}"/>
                </a:ext>
              </a:extLst>
            </p:cNvPr>
            <p:cNvSpPr txBox="1">
              <a:spLocks noChangeAspect="1"/>
            </p:cNvSpPr>
            <p:nvPr>
              <p:custDataLst>
                <p:tags r:id="rId2"/>
              </p:custDataLst>
            </p:nvPr>
          </p:nvSpPr>
          <p:spPr>
            <a:xfrm rot="5400000">
              <a:off x="456444" y="847080"/>
              <a:ext cx="3051138" cy="2652803"/>
            </a:xfrm>
            <a:prstGeom prst="homePlate">
              <a:avLst>
                <a:gd name="adj" fmla="val 26427"/>
              </a:avLst>
            </a:prstGeom>
            <a:solidFill>
              <a:schemeClr val="accent1"/>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r>
                <a:rPr kumimoji="0" lang="en-US" sz="1100" b="1" i="0" u="none" strike="noStrike" kern="1200" cap="none" spc="0" normalizeH="0" baseline="0" noProof="0" dirty="0">
                  <a:ln>
                    <a:noFill/>
                  </a:ln>
                  <a:solidFill>
                    <a:srgbClr val="FFFFFF"/>
                  </a:solidFill>
                  <a:effectLst/>
                  <a:uLnTx/>
                  <a:uFillTx/>
                  <a:latin typeface="Calibri Light"/>
                  <a:ea typeface="+mj-ea"/>
                  <a:cs typeface="+mj-cs"/>
                </a:rPr>
                <a:t>  </a:t>
              </a:r>
            </a:p>
          </p:txBody>
        </p:sp>
      </p:grpSp>
      <p:sp>
        <p:nvSpPr>
          <p:cNvPr id="12" name="TextBox 11">
            <a:extLst>
              <a:ext uri="{FF2B5EF4-FFF2-40B4-BE49-F238E27FC236}">
                <a16:creationId xmlns:a16="http://schemas.microsoft.com/office/drawing/2014/main" id="{A90E5C25-09D2-4942-83F8-411A329AD38B}"/>
              </a:ext>
            </a:extLst>
          </p:cNvPr>
          <p:cNvSpPr txBox="1"/>
          <p:nvPr/>
        </p:nvSpPr>
        <p:spPr>
          <a:xfrm>
            <a:off x="1105385" y="3871427"/>
            <a:ext cx="2714937" cy="1477328"/>
          </a:xfrm>
          <a:prstGeom prst="rect">
            <a:avLst/>
          </a:prstGeom>
          <a:noFill/>
        </p:spPr>
        <p:txBody>
          <a:bodyPr wrap="square" lIns="0" tIns="0" rIns="0" bIns="0" rtlCol="0">
            <a:spAutoFit/>
          </a:bodyPr>
          <a:lstStyle/>
          <a:p>
            <a:pPr marL="0" marR="0" lvl="0" indent="0" algn="ctr" defTabSz="914335" rtl="0" eaLnBrk="1" fontAlgn="auto" latinLnBrk="0" hangingPunct="1">
              <a:lnSpc>
                <a:spcPct val="100000"/>
              </a:lnSpc>
              <a:spcBef>
                <a:spcPts val="600"/>
              </a:spcBef>
              <a:spcAft>
                <a:spcPts val="0"/>
              </a:spcAft>
              <a:buClrTx/>
              <a:buSzPct val="100000"/>
              <a:buFontTx/>
              <a:buNone/>
              <a:tabLst/>
              <a:defRPr/>
            </a:pPr>
            <a:r>
              <a:rPr lang="en-US" sz="3200" b="1" dirty="0">
                <a:solidFill>
                  <a:prstClr val="white"/>
                </a:solidFill>
                <a:latin typeface="Calibri Light" panose="020F0302020204030204" pitchFamily="34" charset="0"/>
                <a:cs typeface="Calibri Light" panose="020F0302020204030204" pitchFamily="34" charset="0"/>
              </a:rPr>
              <a:t>Necessary Regulations for Investment</a:t>
            </a:r>
            <a:endParaRPr kumimoji="0" lang="en-US" sz="32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043820797"/>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8207245-51CF-4E4F-847C-D768EE10210B}"/>
              </a:ext>
            </a:extLst>
          </p:cNvPr>
          <p:cNvSpPr>
            <a:spLocks noGrp="1"/>
          </p:cNvSpPr>
          <p:nvPr>
            <p:ph type="title"/>
          </p:nvPr>
        </p:nvSpPr>
        <p:spPr>
          <a:xfrm>
            <a:off x="501651" y="317501"/>
            <a:ext cx="11162349" cy="247984"/>
          </a:xfrm>
        </p:spPr>
        <p:txBody>
          <a:bodyPr/>
          <a:lstStyle/>
          <a:p>
            <a:r>
              <a:rPr lang="en-US" b="1" dirty="0"/>
              <a:t>Necessary Regulations for Investment</a:t>
            </a:r>
          </a:p>
        </p:txBody>
      </p:sp>
      <p:sp>
        <p:nvSpPr>
          <p:cNvPr id="3" name="TextBox 2">
            <a:extLst>
              <a:ext uri="{FF2B5EF4-FFF2-40B4-BE49-F238E27FC236}">
                <a16:creationId xmlns:a16="http://schemas.microsoft.com/office/drawing/2014/main" id="{FCF6E386-72CD-92D1-55CE-A68E64F2AEA3}"/>
              </a:ext>
            </a:extLst>
          </p:cNvPr>
          <p:cNvSpPr txBox="1"/>
          <p:nvPr/>
        </p:nvSpPr>
        <p:spPr>
          <a:xfrm>
            <a:off x="426720" y="692834"/>
            <a:ext cx="10511246" cy="338554"/>
          </a:xfrm>
          <a:prstGeom prst="rect">
            <a:avLst/>
          </a:prstGeom>
          <a:noFill/>
        </p:spPr>
        <p:txBody>
          <a:bodyPr wrap="square">
            <a:spAutoFit/>
          </a:bodyPr>
          <a:lstStyle/>
          <a:p>
            <a:r>
              <a:rPr lang="en-US" sz="1600" dirty="0"/>
              <a:t>To attract and sustain private investment, it is essential to have the right regulatory framework in place:</a:t>
            </a:r>
          </a:p>
        </p:txBody>
      </p:sp>
      <p:grpSp>
        <p:nvGrpSpPr>
          <p:cNvPr id="76" name="Group 75">
            <a:extLst>
              <a:ext uri="{FF2B5EF4-FFF2-40B4-BE49-F238E27FC236}">
                <a16:creationId xmlns:a16="http://schemas.microsoft.com/office/drawing/2014/main" id="{5257EAA9-7038-2F40-7A83-199ED793621B}"/>
              </a:ext>
            </a:extLst>
          </p:cNvPr>
          <p:cNvGrpSpPr/>
          <p:nvPr/>
        </p:nvGrpSpPr>
        <p:grpSpPr>
          <a:xfrm>
            <a:off x="961027" y="1897886"/>
            <a:ext cx="10511246" cy="3710435"/>
            <a:chOff x="-1134716" y="783510"/>
            <a:chExt cx="14233209" cy="4775855"/>
          </a:xfrm>
        </p:grpSpPr>
        <p:sp>
          <p:nvSpPr>
            <p:cNvPr id="4" name="Text Placeholder 5">
              <a:extLst>
                <a:ext uri="{FF2B5EF4-FFF2-40B4-BE49-F238E27FC236}">
                  <a16:creationId xmlns:a16="http://schemas.microsoft.com/office/drawing/2014/main" id="{A6149BF0-7D58-D951-FDBA-FE11EA56EB63}"/>
                </a:ext>
              </a:extLst>
            </p:cNvPr>
            <p:cNvSpPr txBox="1">
              <a:spLocks/>
            </p:cNvSpPr>
            <p:nvPr/>
          </p:nvSpPr>
          <p:spPr>
            <a:xfrm>
              <a:off x="7910615" y="783510"/>
              <a:ext cx="4991450" cy="1184941"/>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charset="0"/>
                <a:buNone/>
                <a:tabLst/>
                <a:defRPr/>
              </a:pPr>
              <a:r>
                <a:rPr kumimoji="0" lang="en-GB" sz="1200" b="1" i="0" u="none" strike="noStrike" kern="1200" cap="none" spc="0" normalizeH="0" baseline="0" noProof="0" dirty="0">
                  <a:ln>
                    <a:noFill/>
                  </a:ln>
                  <a:solidFill>
                    <a:srgbClr val="26890D"/>
                  </a:solidFill>
                  <a:effectLst/>
                  <a:uLnTx/>
                  <a:uFillTx/>
                  <a:latin typeface="Calibri Light"/>
                  <a:ea typeface="Verdana" panose="020B0604030504040204" pitchFamily="34" charset="0"/>
                  <a:cs typeface="Calibri Light" panose="020F0302020204030204" pitchFamily="34" charset="0"/>
                </a:rPr>
                <a:t>2.Regulatory Certainty: </a:t>
              </a:r>
              <a:endParaRPr kumimoji="0" lang="en-US" sz="1050" b="0" i="0" u="none" strike="noStrike" kern="1200" cap="none" spc="0" normalizeH="0" baseline="0" noProof="0" dirty="0">
                <a:ln>
                  <a:noFill/>
                </a:ln>
                <a:solidFill>
                  <a:prstClr val="black"/>
                </a:solidFill>
                <a:effectLst/>
                <a:uLnTx/>
                <a:uFillTx/>
                <a:latin typeface="Calibri Light"/>
                <a:ea typeface="+mj-ea"/>
                <a:cs typeface="Calibri Light" panose="020F0302020204030204" pitchFamily="34" charset="0"/>
              </a:endParaRPr>
            </a:p>
            <a:p>
              <a:pPr marL="514874" marR="0" lvl="3" indent="-171450" algn="l" defTabSz="914400" rtl="0" eaLnBrk="1" fontAlgn="auto" latinLnBrk="0" hangingPunct="1">
                <a:lnSpc>
                  <a:spcPct val="100000"/>
                </a:lnSpc>
                <a:spcBef>
                  <a:spcPts val="0"/>
                </a:spcBef>
                <a:spcAft>
                  <a:spcPts val="0"/>
                </a:spcAft>
                <a:buClrTx/>
                <a:buSzPct val="100000"/>
                <a:buFont typeface="Wingdings" panose="05000000000000000000" pitchFamily="2" charset="2"/>
                <a:buChar char="ü"/>
                <a:tabLst/>
                <a:defRPr/>
              </a:pPr>
              <a:r>
                <a:rPr kumimoji="0" lang="en-US" sz="1050" b="0" i="0" u="none" strike="noStrike" kern="1200" cap="none" spc="0" normalizeH="0" baseline="0" noProof="0" dirty="0">
                  <a:ln>
                    <a:noFill/>
                  </a:ln>
                  <a:solidFill>
                    <a:prstClr val="black"/>
                  </a:solidFill>
                  <a:effectLst/>
                  <a:uLnTx/>
                  <a:uFillTx/>
                  <a:latin typeface="Calibri Light"/>
                  <a:ea typeface="+mj-ea"/>
                  <a:cs typeface="Calibri Light" panose="020F0302020204030204" pitchFamily="34" charset="0"/>
                </a:rPr>
                <a:t>Clear, transparent, and consistent regulatory policies are necessary to build investor confidence. This includes streamlined processes for project approvals, tariffs, and incentives.</a:t>
              </a:r>
              <a:endParaRPr kumimoji="0" lang="en-GB" sz="1050" b="0" i="0" u="none" strike="noStrike" kern="1200" cap="none" spc="0" normalizeH="0" baseline="0" noProof="0" dirty="0">
                <a:ln>
                  <a:noFill/>
                </a:ln>
                <a:solidFill>
                  <a:prstClr val="black"/>
                </a:solidFill>
                <a:effectLst/>
                <a:uLnTx/>
                <a:uFillTx/>
                <a:latin typeface="Calibri Light"/>
                <a:ea typeface="+mj-ea"/>
                <a:cs typeface="Calibri Light" panose="020F0302020204030204" pitchFamily="34" charset="0"/>
              </a:endParaRPr>
            </a:p>
          </p:txBody>
        </p:sp>
        <p:sp>
          <p:nvSpPr>
            <p:cNvPr id="7" name="Text Placeholder 5">
              <a:extLst>
                <a:ext uri="{FF2B5EF4-FFF2-40B4-BE49-F238E27FC236}">
                  <a16:creationId xmlns:a16="http://schemas.microsoft.com/office/drawing/2014/main" id="{BADC5883-06DD-7A9F-0622-A4E70A9FE606}"/>
                </a:ext>
              </a:extLst>
            </p:cNvPr>
            <p:cNvSpPr txBox="1">
              <a:spLocks/>
            </p:cNvSpPr>
            <p:nvPr/>
          </p:nvSpPr>
          <p:spPr>
            <a:xfrm>
              <a:off x="-594396" y="4608984"/>
              <a:ext cx="4788999" cy="890289"/>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400"/>
                </a:spcBef>
                <a:spcAft>
                  <a:spcPts val="0"/>
                </a:spcAft>
                <a:buClrTx/>
                <a:buSzTx/>
                <a:buFont typeface="Arial" charset="0"/>
                <a:buNone/>
                <a:tabLst/>
                <a:defRPr/>
              </a:pPr>
              <a:r>
                <a:rPr kumimoji="0" lang="en-US" sz="1200" b="1" i="0" u="none" strike="noStrike" kern="1200" cap="none" spc="0" normalizeH="0" baseline="0" noProof="0" dirty="0">
                  <a:ln>
                    <a:noFill/>
                  </a:ln>
                  <a:solidFill>
                    <a:srgbClr val="26890D"/>
                  </a:solidFill>
                  <a:effectLst/>
                  <a:uLnTx/>
                  <a:uFillTx/>
                  <a:latin typeface="Calibri Light"/>
                  <a:ea typeface="Verdana" panose="020B0604030504040204" pitchFamily="34" charset="0"/>
                  <a:cs typeface="+mn-cs"/>
                </a:rPr>
                <a:t>3.Supportive Legal Framework:</a:t>
              </a:r>
            </a:p>
            <a:p>
              <a:pPr marL="0" marR="0" lvl="0" indent="0" algn="l" defTabSz="957263" rtl="0" eaLnBrk="1" fontAlgn="base" latinLnBrk="0" hangingPunct="1">
                <a:lnSpc>
                  <a:spcPct val="100000"/>
                </a:lnSpc>
                <a:spcBef>
                  <a:spcPts val="400"/>
                </a:spcBef>
                <a:spcAft>
                  <a:spcPts val="0"/>
                </a:spcAft>
                <a:buClrTx/>
                <a:buSzTx/>
                <a:buFont typeface="Arial" charset="0"/>
                <a:buNone/>
                <a:tabLst/>
                <a:defRPr/>
              </a:pPr>
              <a:r>
                <a:rPr kumimoji="0" lang="en-US" sz="1050" b="0" i="0" u="none" strike="noStrike" kern="1200" cap="none" spc="0" normalizeH="0" baseline="0" noProof="0" dirty="0">
                  <a:ln>
                    <a:noFill/>
                  </a:ln>
                  <a:solidFill>
                    <a:prstClr val="black"/>
                  </a:solidFill>
                  <a:effectLst/>
                  <a:uLnTx/>
                  <a:uFillTx/>
                  <a:latin typeface="Calibri Light"/>
                  <a:ea typeface="+mj-ea"/>
                  <a:cs typeface="+mj-cs"/>
                </a:rPr>
                <a:t>Laws that protect investments and intellectual property, enforce contracts, and ensure fair competition are essential to creating a conducive business environment.</a:t>
              </a:r>
              <a:endParaRPr kumimoji="0" lang="en-US" sz="1200" b="0" i="0" u="none" strike="noStrike" kern="1200" cap="none" spc="0" normalizeH="0" baseline="0" noProof="0" dirty="0">
                <a:ln>
                  <a:noFill/>
                </a:ln>
                <a:solidFill>
                  <a:prstClr val="black"/>
                </a:solidFill>
                <a:effectLst/>
                <a:uLnTx/>
                <a:uFillTx/>
                <a:latin typeface="Calibri Light"/>
                <a:ea typeface="+mj-ea"/>
                <a:cs typeface="+mj-cs"/>
              </a:endParaRPr>
            </a:p>
          </p:txBody>
        </p:sp>
        <p:sp>
          <p:nvSpPr>
            <p:cNvPr id="8" name="Text Placeholder 5">
              <a:extLst>
                <a:ext uri="{FF2B5EF4-FFF2-40B4-BE49-F238E27FC236}">
                  <a16:creationId xmlns:a16="http://schemas.microsoft.com/office/drawing/2014/main" id="{9C898EAB-CBE3-E351-864E-A006A37A02A8}"/>
                </a:ext>
              </a:extLst>
            </p:cNvPr>
            <p:cNvSpPr txBox="1">
              <a:spLocks/>
            </p:cNvSpPr>
            <p:nvPr/>
          </p:nvSpPr>
          <p:spPr>
            <a:xfrm>
              <a:off x="8107043" y="4773629"/>
              <a:ext cx="4991450" cy="785736"/>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0"/>
                </a:spcAft>
                <a:buClrTx/>
                <a:buSzPct val="100000"/>
                <a:buFont typeface="Arial" charset="0"/>
                <a:buNone/>
                <a:tabLst/>
                <a:defRPr/>
              </a:pPr>
              <a:r>
                <a:rPr kumimoji="0" lang="en-GB" sz="1200" b="1" i="0" u="none" strike="noStrike" kern="1200" cap="none" spc="0" normalizeH="0" baseline="0" noProof="0" dirty="0">
                  <a:ln>
                    <a:noFill/>
                  </a:ln>
                  <a:solidFill>
                    <a:srgbClr val="26890D"/>
                  </a:solidFill>
                  <a:effectLst/>
                  <a:uLnTx/>
                  <a:uFillTx/>
                  <a:latin typeface="Calibri Light"/>
                  <a:ea typeface="Verdana" panose="020B0604030504040204" pitchFamily="34" charset="0"/>
                  <a:cs typeface="Calibri Light" panose="020F0302020204030204" pitchFamily="34" charset="0"/>
                </a:rPr>
                <a:t>4.Stable Land Tenure System:</a:t>
              </a:r>
            </a:p>
            <a:p>
              <a:pPr marL="0" marR="0" lvl="0" indent="0" algn="l" defTabSz="914400" rtl="0" eaLnBrk="1" fontAlgn="auto" latinLnBrk="0" hangingPunct="1">
                <a:lnSpc>
                  <a:spcPct val="100000"/>
                </a:lnSpc>
                <a:spcBef>
                  <a:spcPts val="0"/>
                </a:spcBef>
                <a:spcAft>
                  <a:spcPts val="1000"/>
                </a:spcAft>
                <a:buClrTx/>
                <a:buSzPct val="100000"/>
                <a:buFont typeface="Arial" charset="0"/>
                <a:buNone/>
                <a:tabLst/>
                <a:defRPr/>
              </a:pPr>
              <a:r>
                <a:rPr kumimoji="0" lang="en-US" sz="1050" b="0" i="0" u="none" strike="noStrike" kern="1200" cap="none" spc="0" normalizeH="0" baseline="0" noProof="0" dirty="0">
                  <a:ln>
                    <a:noFill/>
                  </a:ln>
                  <a:solidFill>
                    <a:prstClr val="black"/>
                  </a:solidFill>
                  <a:effectLst/>
                  <a:uLnTx/>
                  <a:uFillTx/>
                  <a:latin typeface="Calibri Light"/>
                  <a:ea typeface="+mj-ea"/>
                  <a:cs typeface="Calibri Light" panose="020F0302020204030204" pitchFamily="34" charset="0"/>
                </a:rPr>
                <a:t>Which would make land rights and access to land predictable and streamlined for power infrastructure projects.</a:t>
              </a:r>
              <a:endParaRPr kumimoji="0" lang="en-US" sz="1200" b="0" i="0" u="none" strike="noStrike" kern="1200" cap="none" spc="0" normalizeH="0" baseline="0" noProof="0" dirty="0">
                <a:ln>
                  <a:noFill/>
                </a:ln>
                <a:solidFill>
                  <a:prstClr val="black"/>
                </a:solidFill>
                <a:effectLst/>
                <a:uLnTx/>
                <a:uFillTx/>
                <a:latin typeface="Calibri Light"/>
                <a:ea typeface="+mj-ea"/>
                <a:cs typeface="Calibri Light" panose="020F0302020204030204" pitchFamily="34" charset="0"/>
              </a:endParaRPr>
            </a:p>
          </p:txBody>
        </p:sp>
        <p:sp>
          <p:nvSpPr>
            <p:cNvPr id="10" name="Text Placeholder 5">
              <a:extLst>
                <a:ext uri="{FF2B5EF4-FFF2-40B4-BE49-F238E27FC236}">
                  <a16:creationId xmlns:a16="http://schemas.microsoft.com/office/drawing/2014/main" id="{A55B9739-829E-E4EA-A743-48CB69937544}"/>
                </a:ext>
              </a:extLst>
            </p:cNvPr>
            <p:cNvSpPr txBox="1">
              <a:spLocks/>
            </p:cNvSpPr>
            <p:nvPr/>
          </p:nvSpPr>
          <p:spPr>
            <a:xfrm>
              <a:off x="-1134716" y="783510"/>
              <a:ext cx="5599456" cy="826924"/>
            </a:xfrm>
            <a:prstGeom prst="rect">
              <a:avLst/>
            </a:prstGeom>
          </p:spPr>
          <p:txBody>
            <a:bodyPr wrap="square" lIns="0" tIns="0" rIns="0" bIns="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400"/>
                </a:spcBef>
                <a:spcAft>
                  <a:spcPts val="0"/>
                </a:spcAft>
                <a:buClrTx/>
                <a:buSzTx/>
                <a:buFont typeface="Arial" charset="0"/>
                <a:buNone/>
                <a:tabLst/>
                <a:defRPr/>
              </a:pPr>
              <a:r>
                <a:rPr kumimoji="0" lang="en-US" sz="1200" b="1" i="0" u="none" strike="noStrike" kern="1200" cap="none" spc="0" normalizeH="0" baseline="0" noProof="0" dirty="0">
                  <a:ln>
                    <a:noFill/>
                  </a:ln>
                  <a:solidFill>
                    <a:srgbClr val="26890D"/>
                  </a:solidFill>
                  <a:effectLst/>
                  <a:uLnTx/>
                  <a:uFillTx/>
                  <a:latin typeface="Calibri Light"/>
                  <a:ea typeface="Verdana" panose="020B0604030504040204" pitchFamily="34" charset="0"/>
                  <a:cs typeface="+mn-cs"/>
                </a:rPr>
                <a:t>1.Public-Private Partnership (PPP) Policy: </a:t>
              </a:r>
            </a:p>
            <a:p>
              <a:pPr marL="334874" marR="0" lvl="2" indent="-171450" algn="l" defTabSz="957263" rtl="0" eaLnBrk="1" fontAlgn="base" latinLnBrk="0" hangingPunct="1">
                <a:lnSpc>
                  <a:spcPct val="100000"/>
                </a:lnSpc>
                <a:spcBef>
                  <a:spcPts val="0"/>
                </a:spcBef>
                <a:spcAft>
                  <a:spcPts val="0"/>
                </a:spcAft>
                <a:buClrTx/>
                <a:buSzTx/>
                <a:buFont typeface="Wingdings" panose="05000000000000000000" pitchFamily="2" charset="2"/>
                <a:buChar char="ü"/>
                <a:tabLst/>
                <a:defRPr/>
              </a:pPr>
              <a:r>
                <a:rPr kumimoji="0" lang="en-US" sz="1050" b="0" i="0" u="none" strike="noStrike" kern="1200" cap="none" spc="0" normalizeH="0" baseline="0" noProof="0" dirty="0">
                  <a:ln>
                    <a:noFill/>
                  </a:ln>
                  <a:solidFill>
                    <a:prstClr val="black"/>
                  </a:solidFill>
                  <a:effectLst/>
                  <a:uLnTx/>
                  <a:uFillTx/>
                  <a:latin typeface="Calibri Light"/>
                  <a:ea typeface="+mj-ea"/>
                  <a:cs typeface="+mj-cs"/>
                </a:rPr>
                <a:t>A robust PPP policy is critical, providing clarity and assurance to private investors. It defines roles, responsibilities, and risk-sharing mechanisms, fostering a collaborative approach to infrastructure development</a:t>
              </a:r>
            </a:p>
          </p:txBody>
        </p:sp>
        <p:grpSp>
          <p:nvGrpSpPr>
            <p:cNvPr id="45" name="Group 44">
              <a:extLst>
                <a:ext uri="{FF2B5EF4-FFF2-40B4-BE49-F238E27FC236}">
                  <a16:creationId xmlns:a16="http://schemas.microsoft.com/office/drawing/2014/main" id="{D3A810C5-7393-86EA-964A-F80DC8B0DD64}"/>
                </a:ext>
              </a:extLst>
            </p:cNvPr>
            <p:cNvGrpSpPr/>
            <p:nvPr/>
          </p:nvGrpSpPr>
          <p:grpSpPr>
            <a:xfrm>
              <a:off x="4627011" y="1484182"/>
              <a:ext cx="3094344" cy="3237646"/>
              <a:chOff x="4548827" y="2025766"/>
              <a:chExt cx="3094344" cy="3237646"/>
            </a:xfrm>
          </p:grpSpPr>
          <p:grpSp>
            <p:nvGrpSpPr>
              <p:cNvPr id="46" name="Group 4">
                <a:extLst>
                  <a:ext uri="{FF2B5EF4-FFF2-40B4-BE49-F238E27FC236}">
                    <a16:creationId xmlns:a16="http://schemas.microsoft.com/office/drawing/2014/main" id="{4066B6D0-89A2-2C93-B0A7-C94CBD7815BC}"/>
                  </a:ext>
                </a:extLst>
              </p:cNvPr>
              <p:cNvGrpSpPr>
                <a:grpSpLocks noChangeAspect="1"/>
              </p:cNvGrpSpPr>
              <p:nvPr/>
            </p:nvGrpSpPr>
            <p:grpSpPr bwMode="auto">
              <a:xfrm>
                <a:off x="4548827" y="2167825"/>
                <a:ext cx="3094344" cy="3095587"/>
                <a:chOff x="1646" y="993"/>
                <a:chExt cx="2489" cy="2490"/>
              </a:xfrm>
            </p:grpSpPr>
            <p:sp>
              <p:nvSpPr>
                <p:cNvPr id="72" name="Freeform 31">
                  <a:extLst>
                    <a:ext uri="{FF2B5EF4-FFF2-40B4-BE49-F238E27FC236}">
                      <a16:creationId xmlns:a16="http://schemas.microsoft.com/office/drawing/2014/main" id="{ADEE1F36-B328-F333-961D-B10055AB7DDF}"/>
                    </a:ext>
                  </a:extLst>
                </p:cNvPr>
                <p:cNvSpPr>
                  <a:spLocks/>
                </p:cNvSpPr>
                <p:nvPr/>
              </p:nvSpPr>
              <p:spPr bwMode="auto">
                <a:xfrm>
                  <a:off x="2604" y="993"/>
                  <a:ext cx="1523" cy="1523"/>
                </a:xfrm>
                <a:custGeom>
                  <a:avLst/>
                  <a:gdLst>
                    <a:gd name="T0" fmla="*/ 598 w 2014"/>
                    <a:gd name="T1" fmla="*/ 1645 h 2013"/>
                    <a:gd name="T2" fmla="*/ 598 w 2014"/>
                    <a:gd name="T3" fmla="*/ 1645 h 2013"/>
                    <a:gd name="T4" fmla="*/ 1007 w 2014"/>
                    <a:gd name="T5" fmla="*/ 2013 h 2013"/>
                    <a:gd name="T6" fmla="*/ 2014 w 2014"/>
                    <a:gd name="T7" fmla="*/ 1006 h 2013"/>
                    <a:gd name="T8" fmla="*/ 1007 w 2014"/>
                    <a:gd name="T9" fmla="*/ 0 h 2013"/>
                    <a:gd name="T10" fmla="*/ 0 w 2014"/>
                    <a:gd name="T11" fmla="*/ 1006 h 2013"/>
                    <a:gd name="T12" fmla="*/ 375 w 2014"/>
                    <a:gd name="T13" fmla="*/ 1424 h 2013"/>
                    <a:gd name="T14" fmla="*/ 383 w 2014"/>
                    <a:gd name="T15" fmla="*/ 1006 h 2013"/>
                    <a:gd name="T16" fmla="*/ 1007 w 2014"/>
                    <a:gd name="T17" fmla="*/ 382 h 2013"/>
                    <a:gd name="T18" fmla="*/ 1630 w 2014"/>
                    <a:gd name="T19" fmla="*/ 1006 h 2013"/>
                    <a:gd name="T20" fmla="*/ 1008 w 2014"/>
                    <a:gd name="T21" fmla="*/ 1641 h 2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3">
                      <a:moveTo>
                        <a:pt x="598" y="1645"/>
                      </a:moveTo>
                      <a:lnTo>
                        <a:pt x="598" y="1645"/>
                      </a:lnTo>
                      <a:cubicBezTo>
                        <a:pt x="598" y="1645"/>
                        <a:pt x="758" y="1787"/>
                        <a:pt x="1007" y="2013"/>
                      </a:cubicBezTo>
                      <a:cubicBezTo>
                        <a:pt x="1563" y="2013"/>
                        <a:pt x="2014" y="1562"/>
                        <a:pt x="2014" y="1006"/>
                      </a:cubicBezTo>
                      <a:cubicBezTo>
                        <a:pt x="2014" y="450"/>
                        <a:pt x="1563" y="0"/>
                        <a:pt x="1007" y="0"/>
                      </a:cubicBezTo>
                      <a:cubicBezTo>
                        <a:pt x="451" y="0"/>
                        <a:pt x="0" y="450"/>
                        <a:pt x="0" y="1006"/>
                      </a:cubicBezTo>
                      <a:cubicBezTo>
                        <a:pt x="194" y="1223"/>
                        <a:pt x="375" y="1424"/>
                        <a:pt x="375" y="1424"/>
                      </a:cubicBezTo>
                      <a:cubicBezTo>
                        <a:pt x="375" y="1424"/>
                        <a:pt x="382" y="1246"/>
                        <a:pt x="383" y="1006"/>
                      </a:cubicBezTo>
                      <a:cubicBezTo>
                        <a:pt x="385" y="662"/>
                        <a:pt x="662" y="382"/>
                        <a:pt x="1007" y="382"/>
                      </a:cubicBezTo>
                      <a:cubicBezTo>
                        <a:pt x="1351" y="382"/>
                        <a:pt x="1630" y="662"/>
                        <a:pt x="1630" y="1006"/>
                      </a:cubicBezTo>
                      <a:cubicBezTo>
                        <a:pt x="1630" y="1350"/>
                        <a:pt x="1353" y="1641"/>
                        <a:pt x="1008" y="1641"/>
                      </a:cubicBezTo>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3" name="Freeform 32">
                  <a:extLst>
                    <a:ext uri="{FF2B5EF4-FFF2-40B4-BE49-F238E27FC236}">
                      <a16:creationId xmlns:a16="http://schemas.microsoft.com/office/drawing/2014/main" id="{E119893C-F586-BD1E-D155-20396A8A8E94}"/>
                    </a:ext>
                  </a:extLst>
                </p:cNvPr>
                <p:cNvSpPr>
                  <a:spLocks/>
                </p:cNvSpPr>
                <p:nvPr/>
              </p:nvSpPr>
              <p:spPr bwMode="auto">
                <a:xfrm>
                  <a:off x="1646" y="1001"/>
                  <a:ext cx="1523" cy="1523"/>
                </a:xfrm>
                <a:custGeom>
                  <a:avLst/>
                  <a:gdLst>
                    <a:gd name="T0" fmla="*/ 1646 w 2014"/>
                    <a:gd name="T1" fmla="*/ 1416 h 2014"/>
                    <a:gd name="T2" fmla="*/ 1646 w 2014"/>
                    <a:gd name="T3" fmla="*/ 1416 h 2014"/>
                    <a:gd name="T4" fmla="*/ 2014 w 2014"/>
                    <a:gd name="T5" fmla="*/ 1007 h 2014"/>
                    <a:gd name="T6" fmla="*/ 1007 w 2014"/>
                    <a:gd name="T7" fmla="*/ 0 h 2014"/>
                    <a:gd name="T8" fmla="*/ 0 w 2014"/>
                    <a:gd name="T9" fmla="*/ 1007 h 2014"/>
                    <a:gd name="T10" fmla="*/ 1007 w 2014"/>
                    <a:gd name="T11" fmla="*/ 2014 h 2014"/>
                    <a:gd name="T12" fmla="*/ 1424 w 2014"/>
                    <a:gd name="T13" fmla="*/ 1639 h 2014"/>
                    <a:gd name="T14" fmla="*/ 1007 w 2014"/>
                    <a:gd name="T15" fmla="*/ 1631 h 2014"/>
                    <a:gd name="T16" fmla="*/ 383 w 2014"/>
                    <a:gd name="T17" fmla="*/ 1007 h 2014"/>
                    <a:gd name="T18" fmla="*/ 1007 w 2014"/>
                    <a:gd name="T19" fmla="*/ 384 h 2014"/>
                    <a:gd name="T20" fmla="*/ 1642 w 2014"/>
                    <a:gd name="T21" fmla="*/ 1006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4">
                      <a:moveTo>
                        <a:pt x="1646" y="1416"/>
                      </a:moveTo>
                      <a:lnTo>
                        <a:pt x="1646" y="1416"/>
                      </a:lnTo>
                      <a:cubicBezTo>
                        <a:pt x="1646" y="1416"/>
                        <a:pt x="1788" y="1256"/>
                        <a:pt x="2014" y="1007"/>
                      </a:cubicBezTo>
                      <a:cubicBezTo>
                        <a:pt x="2014" y="451"/>
                        <a:pt x="1563" y="0"/>
                        <a:pt x="1007" y="0"/>
                      </a:cubicBezTo>
                      <a:cubicBezTo>
                        <a:pt x="450" y="0"/>
                        <a:pt x="0" y="451"/>
                        <a:pt x="0" y="1007"/>
                      </a:cubicBezTo>
                      <a:cubicBezTo>
                        <a:pt x="0" y="1563"/>
                        <a:pt x="450" y="2014"/>
                        <a:pt x="1007" y="2014"/>
                      </a:cubicBezTo>
                      <a:cubicBezTo>
                        <a:pt x="1224" y="1820"/>
                        <a:pt x="1424" y="1639"/>
                        <a:pt x="1424" y="1639"/>
                      </a:cubicBezTo>
                      <a:cubicBezTo>
                        <a:pt x="1424" y="1639"/>
                        <a:pt x="1247" y="1632"/>
                        <a:pt x="1007" y="1631"/>
                      </a:cubicBezTo>
                      <a:cubicBezTo>
                        <a:pt x="662" y="1629"/>
                        <a:pt x="383" y="1352"/>
                        <a:pt x="383" y="1007"/>
                      </a:cubicBezTo>
                      <a:cubicBezTo>
                        <a:pt x="383" y="663"/>
                        <a:pt x="662" y="384"/>
                        <a:pt x="1007" y="384"/>
                      </a:cubicBezTo>
                      <a:cubicBezTo>
                        <a:pt x="1351" y="384"/>
                        <a:pt x="1642" y="661"/>
                        <a:pt x="1642" y="1006"/>
                      </a:cubicBezTo>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4" name="Freeform 33">
                  <a:extLst>
                    <a:ext uri="{FF2B5EF4-FFF2-40B4-BE49-F238E27FC236}">
                      <a16:creationId xmlns:a16="http://schemas.microsoft.com/office/drawing/2014/main" id="{4CFCD96A-FB7B-6C94-6679-623BAB7FD08D}"/>
                    </a:ext>
                  </a:extLst>
                </p:cNvPr>
                <p:cNvSpPr>
                  <a:spLocks/>
                </p:cNvSpPr>
                <p:nvPr/>
              </p:nvSpPr>
              <p:spPr bwMode="auto">
                <a:xfrm>
                  <a:off x="1654" y="1959"/>
                  <a:ext cx="1523" cy="1524"/>
                </a:xfrm>
                <a:custGeom>
                  <a:avLst/>
                  <a:gdLst>
                    <a:gd name="T0" fmla="*/ 1416 w 2014"/>
                    <a:gd name="T1" fmla="*/ 368 h 2015"/>
                    <a:gd name="T2" fmla="*/ 1416 w 2014"/>
                    <a:gd name="T3" fmla="*/ 368 h 2015"/>
                    <a:gd name="T4" fmla="*/ 1007 w 2014"/>
                    <a:gd name="T5" fmla="*/ 0 h 2015"/>
                    <a:gd name="T6" fmla="*/ 0 w 2014"/>
                    <a:gd name="T7" fmla="*/ 1007 h 2015"/>
                    <a:gd name="T8" fmla="*/ 1007 w 2014"/>
                    <a:gd name="T9" fmla="*/ 2015 h 2015"/>
                    <a:gd name="T10" fmla="*/ 2014 w 2014"/>
                    <a:gd name="T11" fmla="*/ 1007 h 2015"/>
                    <a:gd name="T12" fmla="*/ 1639 w 2014"/>
                    <a:gd name="T13" fmla="*/ 590 h 2015"/>
                    <a:gd name="T14" fmla="*/ 1631 w 2014"/>
                    <a:gd name="T15" fmla="*/ 1007 h 2015"/>
                    <a:gd name="T16" fmla="*/ 1007 w 2014"/>
                    <a:gd name="T17" fmla="*/ 1631 h 2015"/>
                    <a:gd name="T18" fmla="*/ 383 w 2014"/>
                    <a:gd name="T19" fmla="*/ 1007 h 2015"/>
                    <a:gd name="T20" fmla="*/ 1006 w 2014"/>
                    <a:gd name="T21" fmla="*/ 372 h 2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5">
                      <a:moveTo>
                        <a:pt x="1416" y="368"/>
                      </a:moveTo>
                      <a:lnTo>
                        <a:pt x="1416" y="368"/>
                      </a:lnTo>
                      <a:cubicBezTo>
                        <a:pt x="1416" y="368"/>
                        <a:pt x="1255" y="226"/>
                        <a:pt x="1007" y="0"/>
                      </a:cubicBezTo>
                      <a:cubicBezTo>
                        <a:pt x="451" y="0"/>
                        <a:pt x="0" y="451"/>
                        <a:pt x="0" y="1007"/>
                      </a:cubicBezTo>
                      <a:cubicBezTo>
                        <a:pt x="0" y="1564"/>
                        <a:pt x="451" y="2015"/>
                        <a:pt x="1007" y="2015"/>
                      </a:cubicBezTo>
                      <a:cubicBezTo>
                        <a:pt x="1563" y="2015"/>
                        <a:pt x="2014" y="1564"/>
                        <a:pt x="2014" y="1007"/>
                      </a:cubicBezTo>
                      <a:cubicBezTo>
                        <a:pt x="1820" y="790"/>
                        <a:pt x="1639" y="590"/>
                        <a:pt x="1639" y="590"/>
                      </a:cubicBezTo>
                      <a:cubicBezTo>
                        <a:pt x="1639" y="590"/>
                        <a:pt x="1632" y="767"/>
                        <a:pt x="1631" y="1007"/>
                      </a:cubicBezTo>
                      <a:cubicBezTo>
                        <a:pt x="1629" y="1352"/>
                        <a:pt x="1351" y="1631"/>
                        <a:pt x="1007" y="1631"/>
                      </a:cubicBezTo>
                      <a:cubicBezTo>
                        <a:pt x="663" y="1631"/>
                        <a:pt x="383" y="1352"/>
                        <a:pt x="383" y="1007"/>
                      </a:cubicBezTo>
                      <a:cubicBezTo>
                        <a:pt x="383" y="663"/>
                        <a:pt x="661" y="372"/>
                        <a:pt x="1006" y="372"/>
                      </a:cubicBezTo>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75" name="Freeform 34">
                  <a:extLst>
                    <a:ext uri="{FF2B5EF4-FFF2-40B4-BE49-F238E27FC236}">
                      <a16:creationId xmlns:a16="http://schemas.microsoft.com/office/drawing/2014/main" id="{6C5C3A7D-6131-C239-7BED-38FC0EE74559}"/>
                    </a:ext>
                  </a:extLst>
                </p:cNvPr>
                <p:cNvSpPr>
                  <a:spLocks/>
                </p:cNvSpPr>
                <p:nvPr/>
              </p:nvSpPr>
              <p:spPr bwMode="auto">
                <a:xfrm>
                  <a:off x="2612" y="1951"/>
                  <a:ext cx="1523" cy="1523"/>
                </a:xfrm>
                <a:custGeom>
                  <a:avLst/>
                  <a:gdLst>
                    <a:gd name="T0" fmla="*/ 368 w 2014"/>
                    <a:gd name="T1" fmla="*/ 598 h 2014"/>
                    <a:gd name="T2" fmla="*/ 368 w 2014"/>
                    <a:gd name="T3" fmla="*/ 598 h 2014"/>
                    <a:gd name="T4" fmla="*/ 0 w 2014"/>
                    <a:gd name="T5" fmla="*/ 1007 h 2014"/>
                    <a:gd name="T6" fmla="*/ 1007 w 2014"/>
                    <a:gd name="T7" fmla="*/ 2014 h 2014"/>
                    <a:gd name="T8" fmla="*/ 2014 w 2014"/>
                    <a:gd name="T9" fmla="*/ 1007 h 2014"/>
                    <a:gd name="T10" fmla="*/ 1007 w 2014"/>
                    <a:gd name="T11" fmla="*/ 0 h 2014"/>
                    <a:gd name="T12" fmla="*/ 589 w 2014"/>
                    <a:gd name="T13" fmla="*/ 376 h 2014"/>
                    <a:gd name="T14" fmla="*/ 1007 w 2014"/>
                    <a:gd name="T15" fmla="*/ 384 h 2014"/>
                    <a:gd name="T16" fmla="*/ 1631 w 2014"/>
                    <a:gd name="T17" fmla="*/ 1007 h 2014"/>
                    <a:gd name="T18" fmla="*/ 1007 w 2014"/>
                    <a:gd name="T19" fmla="*/ 1631 h 2014"/>
                    <a:gd name="T20" fmla="*/ 372 w 2014"/>
                    <a:gd name="T21" fmla="*/ 1008 h 2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14" h="2014">
                      <a:moveTo>
                        <a:pt x="368" y="598"/>
                      </a:moveTo>
                      <a:lnTo>
                        <a:pt x="368" y="598"/>
                      </a:lnTo>
                      <a:cubicBezTo>
                        <a:pt x="368" y="598"/>
                        <a:pt x="226" y="759"/>
                        <a:pt x="0" y="1007"/>
                      </a:cubicBezTo>
                      <a:cubicBezTo>
                        <a:pt x="0" y="1563"/>
                        <a:pt x="451" y="2014"/>
                        <a:pt x="1007" y="2014"/>
                      </a:cubicBezTo>
                      <a:cubicBezTo>
                        <a:pt x="1563" y="2014"/>
                        <a:pt x="2014" y="1563"/>
                        <a:pt x="2014" y="1007"/>
                      </a:cubicBezTo>
                      <a:cubicBezTo>
                        <a:pt x="2014" y="451"/>
                        <a:pt x="1563" y="0"/>
                        <a:pt x="1007" y="0"/>
                      </a:cubicBezTo>
                      <a:cubicBezTo>
                        <a:pt x="790" y="194"/>
                        <a:pt x="589" y="376"/>
                        <a:pt x="589" y="376"/>
                      </a:cubicBezTo>
                      <a:cubicBezTo>
                        <a:pt x="589" y="376"/>
                        <a:pt x="767" y="382"/>
                        <a:pt x="1007" y="384"/>
                      </a:cubicBezTo>
                      <a:cubicBezTo>
                        <a:pt x="1351" y="385"/>
                        <a:pt x="1631" y="663"/>
                        <a:pt x="1631" y="1007"/>
                      </a:cubicBezTo>
                      <a:cubicBezTo>
                        <a:pt x="1631" y="1351"/>
                        <a:pt x="1351" y="1631"/>
                        <a:pt x="1007" y="1631"/>
                      </a:cubicBezTo>
                      <a:cubicBezTo>
                        <a:pt x="663" y="1631"/>
                        <a:pt x="372" y="1353"/>
                        <a:pt x="372" y="1008"/>
                      </a:cubicBezTo>
                    </a:path>
                  </a:pathLst>
                </a:custGeom>
                <a:solidFill>
                  <a:srgbClr val="009A4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47" name="Group 46">
                <a:extLst>
                  <a:ext uri="{FF2B5EF4-FFF2-40B4-BE49-F238E27FC236}">
                    <a16:creationId xmlns:a16="http://schemas.microsoft.com/office/drawing/2014/main" id="{69C4A33F-8AAC-4D3A-C7ED-B0E3B607D5BE}"/>
                  </a:ext>
                </a:extLst>
              </p:cNvPr>
              <p:cNvGrpSpPr/>
              <p:nvPr/>
            </p:nvGrpSpPr>
            <p:grpSpPr>
              <a:xfrm>
                <a:off x="5201517" y="2794114"/>
                <a:ext cx="1788969" cy="1843008"/>
                <a:chOff x="3481619" y="2999178"/>
                <a:chExt cx="1999786" cy="2060193"/>
              </a:xfrm>
            </p:grpSpPr>
            <p:sp>
              <p:nvSpPr>
                <p:cNvPr id="68" name="Oval 67">
                  <a:extLst>
                    <a:ext uri="{FF2B5EF4-FFF2-40B4-BE49-F238E27FC236}">
                      <a16:creationId xmlns:a16="http://schemas.microsoft.com/office/drawing/2014/main" id="{8B59D627-E742-42D2-391C-B6FFEB297381}"/>
                    </a:ext>
                  </a:extLst>
                </p:cNvPr>
                <p:cNvSpPr/>
                <p:nvPr/>
              </p:nvSpPr>
              <p:spPr bwMode="gray">
                <a:xfrm>
                  <a:off x="3481619" y="2999178"/>
                  <a:ext cx="1999786" cy="1999786"/>
                </a:xfrm>
                <a:prstGeom prst="ellipse">
                  <a:avLst/>
                </a:prstGeom>
                <a:solidFill>
                  <a:schemeClr val="accent4"/>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9" name="Oval 68">
                  <a:extLst>
                    <a:ext uri="{FF2B5EF4-FFF2-40B4-BE49-F238E27FC236}">
                      <a16:creationId xmlns:a16="http://schemas.microsoft.com/office/drawing/2014/main" id="{EF46A76A-16F6-6EF1-D0CC-370A57857A90}"/>
                    </a:ext>
                  </a:extLst>
                </p:cNvPr>
                <p:cNvSpPr/>
                <p:nvPr/>
              </p:nvSpPr>
              <p:spPr bwMode="gray">
                <a:xfrm>
                  <a:off x="3850765" y="3368324"/>
                  <a:ext cx="1261494" cy="1261494"/>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70" name="TextBox 69">
                  <a:extLst>
                    <a:ext uri="{FF2B5EF4-FFF2-40B4-BE49-F238E27FC236}">
                      <a16:creationId xmlns:a16="http://schemas.microsoft.com/office/drawing/2014/main" id="{1C42AC43-1641-587F-9E76-96D32D1177C8}"/>
                    </a:ext>
                  </a:extLst>
                </p:cNvPr>
                <p:cNvSpPr txBox="1"/>
                <p:nvPr/>
              </p:nvSpPr>
              <p:spPr>
                <a:xfrm>
                  <a:off x="3915234" y="3883698"/>
                  <a:ext cx="1132556" cy="206428"/>
                </a:xfrm>
                <a:prstGeom prst="rect">
                  <a:avLst/>
                </a:prstGeom>
                <a:noFill/>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200" b="1" i="0" u="none" strike="noStrike" kern="1200" cap="none" spc="0" normalizeH="0" baseline="0" noProof="0">
                      <a:ln>
                        <a:noFill/>
                      </a:ln>
                      <a:solidFill>
                        <a:prstClr val="black"/>
                      </a:solidFill>
                      <a:effectLst/>
                      <a:uLnTx/>
                      <a:uFillTx/>
                      <a:latin typeface="Calibri Light"/>
                      <a:ea typeface="+mn-ea"/>
                      <a:cs typeface="+mn-cs"/>
                    </a:rPr>
                    <a:t>ITGC Review</a:t>
                  </a:r>
                </a:p>
              </p:txBody>
            </p:sp>
            <p:sp>
              <p:nvSpPr>
                <p:cNvPr id="71" name="Rectangle 70">
                  <a:extLst>
                    <a:ext uri="{FF2B5EF4-FFF2-40B4-BE49-F238E27FC236}">
                      <a16:creationId xmlns:a16="http://schemas.microsoft.com/office/drawing/2014/main" id="{BD4B0A3F-E976-22D6-CFB1-5671B28552FA}"/>
                    </a:ext>
                  </a:extLst>
                </p:cNvPr>
                <p:cNvSpPr/>
                <p:nvPr/>
              </p:nvSpPr>
              <p:spPr>
                <a:xfrm>
                  <a:off x="3634262" y="3212004"/>
                  <a:ext cx="1682745" cy="1847367"/>
                </a:xfrm>
                <a:prstGeom prst="rect">
                  <a:avLst/>
                </a:prstGeom>
              </p:spPr>
              <p:txBody>
                <a:bodyPr wrap="none">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a:ln>
                      <a:noFill/>
                    </a:ln>
                    <a:solidFill>
                      <a:srgbClr val="FFFFFF"/>
                    </a:solidFill>
                    <a:effectLst/>
                    <a:uLnTx/>
                    <a:uFillTx/>
                    <a:latin typeface="Calibri"/>
                    <a:ea typeface="+mn-ea"/>
                    <a:cs typeface="+mn-cs"/>
                  </a:endParaRPr>
                </a:p>
              </p:txBody>
            </p:sp>
          </p:grpSp>
          <p:sp>
            <p:nvSpPr>
              <p:cNvPr id="48" name="Teardrop 47">
                <a:extLst>
                  <a:ext uri="{FF2B5EF4-FFF2-40B4-BE49-F238E27FC236}">
                    <a16:creationId xmlns:a16="http://schemas.microsoft.com/office/drawing/2014/main" id="{B0B71DE2-900F-09DB-5FEB-0A6900CB726A}"/>
                  </a:ext>
                </a:extLst>
              </p:cNvPr>
              <p:cNvSpPr/>
              <p:nvPr/>
            </p:nvSpPr>
            <p:spPr bwMode="gray">
              <a:xfrm>
                <a:off x="6792244" y="2025766"/>
                <a:ext cx="742660" cy="742660"/>
              </a:xfrm>
              <a:prstGeom prst="teardrop">
                <a:avLst>
                  <a:gd name="adj" fmla="val 115000"/>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9" name="Oval 48">
                <a:extLst>
                  <a:ext uri="{FF2B5EF4-FFF2-40B4-BE49-F238E27FC236}">
                    <a16:creationId xmlns:a16="http://schemas.microsoft.com/office/drawing/2014/main" id="{75A7ED57-D285-CA19-B6DE-973A27F03DDA}"/>
                  </a:ext>
                </a:extLst>
              </p:cNvPr>
              <p:cNvSpPr/>
              <p:nvPr/>
            </p:nvSpPr>
            <p:spPr bwMode="gray">
              <a:xfrm>
                <a:off x="6861869" y="2095391"/>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1" name="Freeform 26">
                <a:extLst>
                  <a:ext uri="{FF2B5EF4-FFF2-40B4-BE49-F238E27FC236}">
                    <a16:creationId xmlns:a16="http://schemas.microsoft.com/office/drawing/2014/main" id="{5745BCB1-1F76-FA7D-E6DF-6C4D664852B1}"/>
                  </a:ext>
                </a:extLst>
              </p:cNvPr>
              <p:cNvSpPr>
                <a:spLocks noChangeAspect="1" noEditPoints="1"/>
              </p:cNvSpPr>
              <p:nvPr/>
            </p:nvSpPr>
            <p:spPr bwMode="auto">
              <a:xfrm>
                <a:off x="6893342" y="2126864"/>
                <a:ext cx="540467" cy="540467"/>
              </a:xfrm>
              <a:custGeom>
                <a:avLst/>
                <a:gdLst>
                  <a:gd name="T0" fmla="*/ 358 w 512"/>
                  <a:gd name="T1" fmla="*/ 227 h 512"/>
                  <a:gd name="T2" fmla="*/ 367 w 512"/>
                  <a:gd name="T3" fmla="*/ 174 h 512"/>
                  <a:gd name="T4" fmla="*/ 366 w 512"/>
                  <a:gd name="T5" fmla="*/ 172 h 512"/>
                  <a:gd name="T6" fmla="*/ 338 w 512"/>
                  <a:gd name="T7" fmla="*/ 145 h 512"/>
                  <a:gd name="T8" fmla="*/ 308 w 512"/>
                  <a:gd name="T9" fmla="*/ 163 h 512"/>
                  <a:gd name="T10" fmla="*/ 277 w 512"/>
                  <a:gd name="T11" fmla="*/ 119 h 512"/>
                  <a:gd name="T12" fmla="*/ 234 w 512"/>
                  <a:gd name="T13" fmla="*/ 119 h 512"/>
                  <a:gd name="T14" fmla="*/ 204 w 512"/>
                  <a:gd name="T15" fmla="*/ 163 h 512"/>
                  <a:gd name="T16" fmla="*/ 173 w 512"/>
                  <a:gd name="T17" fmla="*/ 145 h 512"/>
                  <a:gd name="T18" fmla="*/ 161 w 512"/>
                  <a:gd name="T19" fmla="*/ 191 h 512"/>
                  <a:gd name="T20" fmla="*/ 143 w 512"/>
                  <a:gd name="T21" fmla="*/ 234 h 512"/>
                  <a:gd name="T22" fmla="*/ 117 w 512"/>
                  <a:gd name="T23" fmla="*/ 256 h 512"/>
                  <a:gd name="T24" fmla="*/ 143 w 512"/>
                  <a:gd name="T25" fmla="*/ 277 h 512"/>
                  <a:gd name="T26" fmla="*/ 161 w 512"/>
                  <a:gd name="T27" fmla="*/ 320 h 512"/>
                  <a:gd name="T28" fmla="*/ 145 w 512"/>
                  <a:gd name="T29" fmla="*/ 339 h 512"/>
                  <a:gd name="T30" fmla="*/ 172 w 512"/>
                  <a:gd name="T31" fmla="*/ 366 h 512"/>
                  <a:gd name="T32" fmla="*/ 191 w 512"/>
                  <a:gd name="T33" fmla="*/ 351 h 512"/>
                  <a:gd name="T34" fmla="*/ 234 w 512"/>
                  <a:gd name="T35" fmla="*/ 368 h 512"/>
                  <a:gd name="T36" fmla="*/ 245 w 512"/>
                  <a:gd name="T37" fmla="*/ 394 h 512"/>
                  <a:gd name="T38" fmla="*/ 267 w 512"/>
                  <a:gd name="T39" fmla="*/ 394 h 512"/>
                  <a:gd name="T40" fmla="*/ 285 w 512"/>
                  <a:gd name="T41" fmla="*/ 358 h 512"/>
                  <a:gd name="T42" fmla="*/ 337 w 512"/>
                  <a:gd name="T43" fmla="*/ 368 h 512"/>
                  <a:gd name="T44" fmla="*/ 368 w 512"/>
                  <a:gd name="T45" fmla="*/ 337 h 512"/>
                  <a:gd name="T46" fmla="*/ 358 w 512"/>
                  <a:gd name="T47" fmla="*/ 285 h 512"/>
                  <a:gd name="T48" fmla="*/ 394 w 512"/>
                  <a:gd name="T49" fmla="*/ 267 h 512"/>
                  <a:gd name="T50" fmla="*/ 393 w 512"/>
                  <a:gd name="T51" fmla="*/ 234 h 512"/>
                  <a:gd name="T52" fmla="*/ 256 w 512"/>
                  <a:gd name="T53" fmla="*/ 192 h 512"/>
                  <a:gd name="T54" fmla="*/ 298 w 512"/>
                  <a:gd name="T55" fmla="*/ 256 h 512"/>
                  <a:gd name="T56" fmla="*/ 256 w 512"/>
                  <a:gd name="T57" fmla="*/ 213 h 512"/>
                  <a:gd name="T58" fmla="*/ 0 w 512"/>
                  <a:gd name="T59" fmla="*/ 256 h 512"/>
                  <a:gd name="T60" fmla="*/ 256 w 512"/>
                  <a:gd name="T61" fmla="*/ 0 h 512"/>
                  <a:gd name="T62" fmla="*/ 401 w 512"/>
                  <a:gd name="T63" fmla="*/ 298 h 512"/>
                  <a:gd name="T64" fmla="*/ 389 w 512"/>
                  <a:gd name="T65" fmla="*/ 329 h 512"/>
                  <a:gd name="T66" fmla="*/ 351 w 512"/>
                  <a:gd name="T67" fmla="*/ 384 h 512"/>
                  <a:gd name="T68" fmla="*/ 311 w 512"/>
                  <a:gd name="T69" fmla="*/ 371 h 512"/>
                  <a:gd name="T70" fmla="*/ 290 w 512"/>
                  <a:gd name="T71" fmla="*/ 412 h 512"/>
                  <a:gd name="T72" fmla="*/ 268 w 512"/>
                  <a:gd name="T73" fmla="*/ 416 h 512"/>
                  <a:gd name="T74" fmla="*/ 256 w 512"/>
                  <a:gd name="T75" fmla="*/ 416 h 512"/>
                  <a:gd name="T76" fmla="*/ 249 w 512"/>
                  <a:gd name="T77" fmla="*/ 416 h 512"/>
                  <a:gd name="T78" fmla="*/ 243 w 512"/>
                  <a:gd name="T79" fmla="*/ 416 h 512"/>
                  <a:gd name="T80" fmla="*/ 213 w 512"/>
                  <a:gd name="T81" fmla="*/ 401 h 512"/>
                  <a:gd name="T82" fmla="*/ 183 w 512"/>
                  <a:gd name="T83" fmla="*/ 389 h 512"/>
                  <a:gd name="T84" fmla="*/ 160 w 512"/>
                  <a:gd name="T85" fmla="*/ 384 h 512"/>
                  <a:gd name="T86" fmla="*/ 128 w 512"/>
                  <a:gd name="T87" fmla="*/ 351 h 512"/>
                  <a:gd name="T88" fmla="*/ 121 w 512"/>
                  <a:gd name="T89" fmla="*/ 342 h 512"/>
                  <a:gd name="T90" fmla="*/ 135 w 512"/>
                  <a:gd name="T91" fmla="*/ 298 h 512"/>
                  <a:gd name="T92" fmla="*/ 96 w 512"/>
                  <a:gd name="T93" fmla="*/ 268 h 512"/>
                  <a:gd name="T94" fmla="*/ 96 w 512"/>
                  <a:gd name="T95" fmla="*/ 256 h 512"/>
                  <a:gd name="T96" fmla="*/ 96 w 512"/>
                  <a:gd name="T97" fmla="*/ 243 h 512"/>
                  <a:gd name="T98" fmla="*/ 96 w 512"/>
                  <a:gd name="T99" fmla="*/ 243 h 512"/>
                  <a:gd name="T100" fmla="*/ 135 w 512"/>
                  <a:gd name="T101" fmla="*/ 213 h 512"/>
                  <a:gd name="T102" fmla="*/ 121 w 512"/>
                  <a:gd name="T103" fmla="*/ 169 h 512"/>
                  <a:gd name="T104" fmla="*/ 169 w 512"/>
                  <a:gd name="T105" fmla="*/ 121 h 512"/>
                  <a:gd name="T106" fmla="*/ 213 w 512"/>
                  <a:gd name="T107" fmla="*/ 135 h 512"/>
                  <a:gd name="T108" fmla="*/ 243 w 512"/>
                  <a:gd name="T109" fmla="*/ 96 h 512"/>
                  <a:gd name="T110" fmla="*/ 298 w 512"/>
                  <a:gd name="T111" fmla="*/ 110 h 512"/>
                  <a:gd name="T112" fmla="*/ 329 w 512"/>
                  <a:gd name="T113" fmla="*/ 122 h 512"/>
                  <a:gd name="T114" fmla="*/ 351 w 512"/>
                  <a:gd name="T115" fmla="*/ 128 h 512"/>
                  <a:gd name="T116" fmla="*/ 384 w 512"/>
                  <a:gd name="T117" fmla="*/ 160 h 512"/>
                  <a:gd name="T118" fmla="*/ 390 w 512"/>
                  <a:gd name="T119" fmla="*/ 169 h 512"/>
                  <a:gd name="T120" fmla="*/ 376 w 512"/>
                  <a:gd name="T121" fmla="*/ 213 h 512"/>
                  <a:gd name="T122" fmla="*/ 416 w 512"/>
                  <a:gd name="T123" fmla="*/ 243 h 512"/>
                  <a:gd name="T124" fmla="*/ 415 w 512"/>
                  <a:gd name="T125" fmla="*/ 2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2" h="512">
                    <a:moveTo>
                      <a:pt x="393" y="234"/>
                    </a:moveTo>
                    <a:cubicBezTo>
                      <a:pt x="368" y="234"/>
                      <a:pt x="368" y="234"/>
                      <a:pt x="368" y="234"/>
                    </a:cubicBezTo>
                    <a:cubicBezTo>
                      <a:pt x="364" y="234"/>
                      <a:pt x="359" y="231"/>
                      <a:pt x="358" y="227"/>
                    </a:cubicBezTo>
                    <a:cubicBezTo>
                      <a:pt x="356" y="219"/>
                      <a:pt x="353" y="211"/>
                      <a:pt x="349" y="204"/>
                    </a:cubicBezTo>
                    <a:cubicBezTo>
                      <a:pt x="346" y="200"/>
                      <a:pt x="347" y="194"/>
                      <a:pt x="351" y="191"/>
                    </a:cubicBezTo>
                    <a:cubicBezTo>
                      <a:pt x="367" y="174"/>
                      <a:pt x="367" y="174"/>
                      <a:pt x="367" y="174"/>
                    </a:cubicBezTo>
                    <a:cubicBezTo>
                      <a:pt x="366" y="173"/>
                      <a:pt x="366" y="173"/>
                      <a:pt x="366" y="173"/>
                    </a:cubicBezTo>
                    <a:cubicBezTo>
                      <a:pt x="366" y="173"/>
                      <a:pt x="366" y="172"/>
                      <a:pt x="366" y="172"/>
                    </a:cubicBezTo>
                    <a:cubicBezTo>
                      <a:pt x="366" y="172"/>
                      <a:pt x="366" y="172"/>
                      <a:pt x="366" y="172"/>
                    </a:cubicBezTo>
                    <a:cubicBezTo>
                      <a:pt x="358" y="162"/>
                      <a:pt x="349" y="153"/>
                      <a:pt x="340" y="146"/>
                    </a:cubicBezTo>
                    <a:cubicBezTo>
                      <a:pt x="340" y="146"/>
                      <a:pt x="340" y="146"/>
                      <a:pt x="339" y="145"/>
                    </a:cubicBezTo>
                    <a:cubicBezTo>
                      <a:pt x="339" y="145"/>
                      <a:pt x="339" y="145"/>
                      <a:pt x="338" y="145"/>
                    </a:cubicBezTo>
                    <a:cubicBezTo>
                      <a:pt x="337" y="144"/>
                      <a:pt x="337" y="144"/>
                      <a:pt x="337" y="144"/>
                    </a:cubicBezTo>
                    <a:cubicBezTo>
                      <a:pt x="320" y="161"/>
                      <a:pt x="320" y="161"/>
                      <a:pt x="320" y="161"/>
                    </a:cubicBezTo>
                    <a:cubicBezTo>
                      <a:pt x="317" y="164"/>
                      <a:pt x="312" y="165"/>
                      <a:pt x="308" y="163"/>
                    </a:cubicBezTo>
                    <a:cubicBezTo>
                      <a:pt x="300" y="159"/>
                      <a:pt x="293" y="155"/>
                      <a:pt x="285" y="153"/>
                    </a:cubicBezTo>
                    <a:cubicBezTo>
                      <a:pt x="280" y="152"/>
                      <a:pt x="277" y="148"/>
                      <a:pt x="277" y="143"/>
                    </a:cubicBezTo>
                    <a:cubicBezTo>
                      <a:pt x="277" y="119"/>
                      <a:pt x="277" y="119"/>
                      <a:pt x="277" y="119"/>
                    </a:cubicBezTo>
                    <a:cubicBezTo>
                      <a:pt x="274" y="118"/>
                      <a:pt x="270" y="118"/>
                      <a:pt x="267" y="118"/>
                    </a:cubicBezTo>
                    <a:cubicBezTo>
                      <a:pt x="259" y="117"/>
                      <a:pt x="252" y="117"/>
                      <a:pt x="245" y="118"/>
                    </a:cubicBezTo>
                    <a:cubicBezTo>
                      <a:pt x="241" y="118"/>
                      <a:pt x="238" y="118"/>
                      <a:pt x="234" y="119"/>
                    </a:cubicBezTo>
                    <a:cubicBezTo>
                      <a:pt x="234" y="143"/>
                      <a:pt x="234" y="143"/>
                      <a:pt x="234" y="143"/>
                    </a:cubicBezTo>
                    <a:cubicBezTo>
                      <a:pt x="234" y="148"/>
                      <a:pt x="231" y="152"/>
                      <a:pt x="227" y="153"/>
                    </a:cubicBezTo>
                    <a:cubicBezTo>
                      <a:pt x="219" y="155"/>
                      <a:pt x="211" y="159"/>
                      <a:pt x="204" y="163"/>
                    </a:cubicBezTo>
                    <a:cubicBezTo>
                      <a:pt x="200" y="165"/>
                      <a:pt x="194" y="164"/>
                      <a:pt x="191" y="161"/>
                    </a:cubicBezTo>
                    <a:cubicBezTo>
                      <a:pt x="174" y="144"/>
                      <a:pt x="174" y="144"/>
                      <a:pt x="174" y="144"/>
                    </a:cubicBezTo>
                    <a:cubicBezTo>
                      <a:pt x="174" y="144"/>
                      <a:pt x="173" y="144"/>
                      <a:pt x="173" y="145"/>
                    </a:cubicBezTo>
                    <a:cubicBezTo>
                      <a:pt x="162" y="153"/>
                      <a:pt x="153" y="162"/>
                      <a:pt x="145" y="173"/>
                    </a:cubicBezTo>
                    <a:cubicBezTo>
                      <a:pt x="144" y="173"/>
                      <a:pt x="144" y="174"/>
                      <a:pt x="144" y="174"/>
                    </a:cubicBezTo>
                    <a:cubicBezTo>
                      <a:pt x="161" y="191"/>
                      <a:pt x="161" y="191"/>
                      <a:pt x="161" y="191"/>
                    </a:cubicBezTo>
                    <a:cubicBezTo>
                      <a:pt x="164" y="194"/>
                      <a:pt x="165" y="200"/>
                      <a:pt x="163" y="204"/>
                    </a:cubicBezTo>
                    <a:cubicBezTo>
                      <a:pt x="159" y="211"/>
                      <a:pt x="155" y="219"/>
                      <a:pt x="153" y="227"/>
                    </a:cubicBezTo>
                    <a:cubicBezTo>
                      <a:pt x="152" y="231"/>
                      <a:pt x="148" y="234"/>
                      <a:pt x="143" y="234"/>
                    </a:cubicBezTo>
                    <a:cubicBezTo>
                      <a:pt x="119" y="234"/>
                      <a:pt x="119" y="234"/>
                      <a:pt x="119" y="234"/>
                    </a:cubicBezTo>
                    <a:cubicBezTo>
                      <a:pt x="118" y="238"/>
                      <a:pt x="118" y="241"/>
                      <a:pt x="118" y="245"/>
                    </a:cubicBezTo>
                    <a:cubicBezTo>
                      <a:pt x="117" y="248"/>
                      <a:pt x="117" y="252"/>
                      <a:pt x="117" y="256"/>
                    </a:cubicBezTo>
                    <a:cubicBezTo>
                      <a:pt x="117" y="259"/>
                      <a:pt x="117" y="263"/>
                      <a:pt x="118" y="267"/>
                    </a:cubicBezTo>
                    <a:cubicBezTo>
                      <a:pt x="118" y="270"/>
                      <a:pt x="118" y="274"/>
                      <a:pt x="119" y="277"/>
                    </a:cubicBezTo>
                    <a:cubicBezTo>
                      <a:pt x="143" y="277"/>
                      <a:pt x="143" y="277"/>
                      <a:pt x="143" y="277"/>
                    </a:cubicBezTo>
                    <a:cubicBezTo>
                      <a:pt x="148" y="277"/>
                      <a:pt x="152" y="280"/>
                      <a:pt x="153" y="285"/>
                    </a:cubicBezTo>
                    <a:cubicBezTo>
                      <a:pt x="155" y="293"/>
                      <a:pt x="159" y="300"/>
                      <a:pt x="163" y="308"/>
                    </a:cubicBezTo>
                    <a:cubicBezTo>
                      <a:pt x="165" y="312"/>
                      <a:pt x="164" y="317"/>
                      <a:pt x="161" y="320"/>
                    </a:cubicBezTo>
                    <a:cubicBezTo>
                      <a:pt x="144" y="337"/>
                      <a:pt x="144" y="337"/>
                      <a:pt x="144" y="337"/>
                    </a:cubicBezTo>
                    <a:cubicBezTo>
                      <a:pt x="145" y="338"/>
                      <a:pt x="145" y="338"/>
                      <a:pt x="145" y="338"/>
                    </a:cubicBezTo>
                    <a:cubicBezTo>
                      <a:pt x="145" y="339"/>
                      <a:pt x="145" y="339"/>
                      <a:pt x="145" y="339"/>
                    </a:cubicBezTo>
                    <a:cubicBezTo>
                      <a:pt x="145" y="339"/>
                      <a:pt x="146" y="340"/>
                      <a:pt x="146" y="340"/>
                    </a:cubicBezTo>
                    <a:cubicBezTo>
                      <a:pt x="153" y="349"/>
                      <a:pt x="162" y="358"/>
                      <a:pt x="172" y="366"/>
                    </a:cubicBezTo>
                    <a:cubicBezTo>
                      <a:pt x="172" y="366"/>
                      <a:pt x="172" y="366"/>
                      <a:pt x="172" y="366"/>
                    </a:cubicBezTo>
                    <a:cubicBezTo>
                      <a:pt x="172" y="366"/>
                      <a:pt x="173" y="366"/>
                      <a:pt x="173" y="367"/>
                    </a:cubicBezTo>
                    <a:cubicBezTo>
                      <a:pt x="174" y="367"/>
                      <a:pt x="174" y="367"/>
                      <a:pt x="174" y="367"/>
                    </a:cubicBezTo>
                    <a:cubicBezTo>
                      <a:pt x="191" y="351"/>
                      <a:pt x="191" y="351"/>
                      <a:pt x="191" y="351"/>
                    </a:cubicBezTo>
                    <a:cubicBezTo>
                      <a:pt x="194" y="347"/>
                      <a:pt x="200" y="346"/>
                      <a:pt x="204" y="349"/>
                    </a:cubicBezTo>
                    <a:cubicBezTo>
                      <a:pt x="211" y="353"/>
                      <a:pt x="219" y="356"/>
                      <a:pt x="227" y="358"/>
                    </a:cubicBezTo>
                    <a:cubicBezTo>
                      <a:pt x="231" y="359"/>
                      <a:pt x="234" y="364"/>
                      <a:pt x="234" y="368"/>
                    </a:cubicBezTo>
                    <a:cubicBezTo>
                      <a:pt x="234" y="393"/>
                      <a:pt x="234" y="393"/>
                      <a:pt x="234" y="393"/>
                    </a:cubicBezTo>
                    <a:cubicBezTo>
                      <a:pt x="238" y="393"/>
                      <a:pt x="241" y="394"/>
                      <a:pt x="245" y="394"/>
                    </a:cubicBezTo>
                    <a:cubicBezTo>
                      <a:pt x="245" y="394"/>
                      <a:pt x="245" y="394"/>
                      <a:pt x="245" y="394"/>
                    </a:cubicBezTo>
                    <a:cubicBezTo>
                      <a:pt x="245" y="394"/>
                      <a:pt x="245" y="394"/>
                      <a:pt x="245" y="394"/>
                    </a:cubicBezTo>
                    <a:cubicBezTo>
                      <a:pt x="245" y="394"/>
                      <a:pt x="245" y="394"/>
                      <a:pt x="245" y="394"/>
                    </a:cubicBezTo>
                    <a:cubicBezTo>
                      <a:pt x="252" y="394"/>
                      <a:pt x="259" y="395"/>
                      <a:pt x="267" y="394"/>
                    </a:cubicBezTo>
                    <a:cubicBezTo>
                      <a:pt x="270" y="394"/>
                      <a:pt x="274" y="393"/>
                      <a:pt x="277" y="393"/>
                    </a:cubicBezTo>
                    <a:cubicBezTo>
                      <a:pt x="277" y="368"/>
                      <a:pt x="277" y="368"/>
                      <a:pt x="277" y="368"/>
                    </a:cubicBezTo>
                    <a:cubicBezTo>
                      <a:pt x="277" y="364"/>
                      <a:pt x="280" y="359"/>
                      <a:pt x="285" y="358"/>
                    </a:cubicBezTo>
                    <a:cubicBezTo>
                      <a:pt x="293" y="356"/>
                      <a:pt x="300" y="353"/>
                      <a:pt x="308" y="349"/>
                    </a:cubicBezTo>
                    <a:cubicBezTo>
                      <a:pt x="312" y="346"/>
                      <a:pt x="317" y="347"/>
                      <a:pt x="320" y="351"/>
                    </a:cubicBezTo>
                    <a:cubicBezTo>
                      <a:pt x="337" y="368"/>
                      <a:pt x="337" y="368"/>
                      <a:pt x="337" y="368"/>
                    </a:cubicBezTo>
                    <a:cubicBezTo>
                      <a:pt x="338" y="367"/>
                      <a:pt x="338" y="367"/>
                      <a:pt x="339" y="367"/>
                    </a:cubicBezTo>
                    <a:cubicBezTo>
                      <a:pt x="349" y="359"/>
                      <a:pt x="359" y="349"/>
                      <a:pt x="367" y="339"/>
                    </a:cubicBezTo>
                    <a:cubicBezTo>
                      <a:pt x="367" y="338"/>
                      <a:pt x="367" y="338"/>
                      <a:pt x="368" y="337"/>
                    </a:cubicBezTo>
                    <a:cubicBezTo>
                      <a:pt x="351" y="320"/>
                      <a:pt x="351" y="320"/>
                      <a:pt x="351" y="320"/>
                    </a:cubicBezTo>
                    <a:cubicBezTo>
                      <a:pt x="347" y="317"/>
                      <a:pt x="346" y="312"/>
                      <a:pt x="349" y="308"/>
                    </a:cubicBezTo>
                    <a:cubicBezTo>
                      <a:pt x="353" y="300"/>
                      <a:pt x="356" y="293"/>
                      <a:pt x="358" y="285"/>
                    </a:cubicBezTo>
                    <a:cubicBezTo>
                      <a:pt x="359" y="280"/>
                      <a:pt x="364" y="277"/>
                      <a:pt x="368" y="277"/>
                    </a:cubicBezTo>
                    <a:cubicBezTo>
                      <a:pt x="393" y="277"/>
                      <a:pt x="393" y="277"/>
                      <a:pt x="393" y="277"/>
                    </a:cubicBezTo>
                    <a:cubicBezTo>
                      <a:pt x="393" y="274"/>
                      <a:pt x="393" y="270"/>
                      <a:pt x="394" y="267"/>
                    </a:cubicBezTo>
                    <a:cubicBezTo>
                      <a:pt x="394" y="263"/>
                      <a:pt x="394" y="259"/>
                      <a:pt x="394" y="256"/>
                    </a:cubicBezTo>
                    <a:cubicBezTo>
                      <a:pt x="394" y="252"/>
                      <a:pt x="394" y="248"/>
                      <a:pt x="394" y="245"/>
                    </a:cubicBezTo>
                    <a:cubicBezTo>
                      <a:pt x="393" y="241"/>
                      <a:pt x="393" y="238"/>
                      <a:pt x="393" y="234"/>
                    </a:cubicBezTo>
                    <a:close/>
                    <a:moveTo>
                      <a:pt x="256" y="320"/>
                    </a:moveTo>
                    <a:cubicBezTo>
                      <a:pt x="220" y="320"/>
                      <a:pt x="192" y="291"/>
                      <a:pt x="192" y="256"/>
                    </a:cubicBezTo>
                    <a:cubicBezTo>
                      <a:pt x="192" y="220"/>
                      <a:pt x="220" y="192"/>
                      <a:pt x="256" y="192"/>
                    </a:cubicBezTo>
                    <a:cubicBezTo>
                      <a:pt x="291" y="192"/>
                      <a:pt x="320" y="220"/>
                      <a:pt x="320" y="256"/>
                    </a:cubicBezTo>
                    <a:cubicBezTo>
                      <a:pt x="320" y="291"/>
                      <a:pt x="291" y="320"/>
                      <a:pt x="256" y="320"/>
                    </a:cubicBezTo>
                    <a:close/>
                    <a:moveTo>
                      <a:pt x="298" y="256"/>
                    </a:moveTo>
                    <a:cubicBezTo>
                      <a:pt x="298" y="279"/>
                      <a:pt x="279" y="298"/>
                      <a:pt x="256" y="298"/>
                    </a:cubicBezTo>
                    <a:cubicBezTo>
                      <a:pt x="232" y="298"/>
                      <a:pt x="213" y="279"/>
                      <a:pt x="213" y="256"/>
                    </a:cubicBezTo>
                    <a:cubicBezTo>
                      <a:pt x="213" y="232"/>
                      <a:pt x="232" y="213"/>
                      <a:pt x="256" y="213"/>
                    </a:cubicBezTo>
                    <a:cubicBezTo>
                      <a:pt x="279" y="213"/>
                      <a:pt x="298" y="232"/>
                      <a:pt x="298"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5" y="268"/>
                    </a:moveTo>
                    <a:cubicBezTo>
                      <a:pt x="414" y="276"/>
                      <a:pt x="413" y="283"/>
                      <a:pt x="412" y="290"/>
                    </a:cubicBezTo>
                    <a:cubicBezTo>
                      <a:pt x="411" y="295"/>
                      <a:pt x="406" y="298"/>
                      <a:pt x="401" y="298"/>
                    </a:cubicBezTo>
                    <a:cubicBezTo>
                      <a:pt x="376" y="298"/>
                      <a:pt x="376" y="298"/>
                      <a:pt x="376" y="298"/>
                    </a:cubicBezTo>
                    <a:cubicBezTo>
                      <a:pt x="375" y="303"/>
                      <a:pt x="373" y="307"/>
                      <a:pt x="371" y="311"/>
                    </a:cubicBezTo>
                    <a:cubicBezTo>
                      <a:pt x="389" y="329"/>
                      <a:pt x="389" y="329"/>
                      <a:pt x="389" y="329"/>
                    </a:cubicBezTo>
                    <a:cubicBezTo>
                      <a:pt x="392" y="332"/>
                      <a:pt x="393" y="338"/>
                      <a:pt x="390" y="342"/>
                    </a:cubicBezTo>
                    <a:cubicBezTo>
                      <a:pt x="388" y="345"/>
                      <a:pt x="386" y="348"/>
                      <a:pt x="384" y="351"/>
                    </a:cubicBezTo>
                    <a:cubicBezTo>
                      <a:pt x="375" y="364"/>
                      <a:pt x="364" y="375"/>
                      <a:pt x="351" y="384"/>
                    </a:cubicBezTo>
                    <a:cubicBezTo>
                      <a:pt x="348" y="386"/>
                      <a:pt x="345" y="388"/>
                      <a:pt x="342" y="390"/>
                    </a:cubicBezTo>
                    <a:cubicBezTo>
                      <a:pt x="338" y="393"/>
                      <a:pt x="332" y="392"/>
                      <a:pt x="329" y="389"/>
                    </a:cubicBezTo>
                    <a:cubicBezTo>
                      <a:pt x="311" y="371"/>
                      <a:pt x="311" y="371"/>
                      <a:pt x="311" y="371"/>
                    </a:cubicBezTo>
                    <a:cubicBezTo>
                      <a:pt x="307" y="373"/>
                      <a:pt x="303" y="375"/>
                      <a:pt x="298" y="376"/>
                    </a:cubicBezTo>
                    <a:cubicBezTo>
                      <a:pt x="298" y="401"/>
                      <a:pt x="298" y="401"/>
                      <a:pt x="298" y="401"/>
                    </a:cubicBezTo>
                    <a:cubicBezTo>
                      <a:pt x="298" y="407"/>
                      <a:pt x="295" y="411"/>
                      <a:pt x="290" y="412"/>
                    </a:cubicBezTo>
                    <a:cubicBezTo>
                      <a:pt x="283" y="414"/>
                      <a:pt x="276" y="415"/>
                      <a:pt x="269" y="415"/>
                    </a:cubicBezTo>
                    <a:cubicBezTo>
                      <a:pt x="269" y="415"/>
                      <a:pt x="269" y="416"/>
                      <a:pt x="269" y="416"/>
                    </a:cubicBezTo>
                    <a:cubicBezTo>
                      <a:pt x="268" y="416"/>
                      <a:pt x="268" y="416"/>
                      <a:pt x="268" y="416"/>
                    </a:cubicBezTo>
                    <a:cubicBezTo>
                      <a:pt x="268" y="416"/>
                      <a:pt x="268" y="416"/>
                      <a:pt x="268" y="416"/>
                    </a:cubicBezTo>
                    <a:cubicBezTo>
                      <a:pt x="267" y="416"/>
                      <a:pt x="265" y="415"/>
                      <a:pt x="264" y="416"/>
                    </a:cubicBezTo>
                    <a:cubicBezTo>
                      <a:pt x="261" y="416"/>
                      <a:pt x="258" y="416"/>
                      <a:pt x="256" y="416"/>
                    </a:cubicBezTo>
                    <a:cubicBezTo>
                      <a:pt x="256" y="416"/>
                      <a:pt x="256" y="416"/>
                      <a:pt x="256" y="416"/>
                    </a:cubicBezTo>
                    <a:cubicBezTo>
                      <a:pt x="256" y="416"/>
                      <a:pt x="256" y="416"/>
                      <a:pt x="256" y="416"/>
                    </a:cubicBezTo>
                    <a:cubicBezTo>
                      <a:pt x="253" y="416"/>
                      <a:pt x="251" y="416"/>
                      <a:pt x="249" y="416"/>
                    </a:cubicBezTo>
                    <a:cubicBezTo>
                      <a:pt x="247" y="416"/>
                      <a:pt x="245" y="416"/>
                      <a:pt x="243" y="416"/>
                    </a:cubicBezTo>
                    <a:cubicBezTo>
                      <a:pt x="243" y="416"/>
                      <a:pt x="243" y="416"/>
                      <a:pt x="243" y="416"/>
                    </a:cubicBezTo>
                    <a:cubicBezTo>
                      <a:pt x="243" y="416"/>
                      <a:pt x="243" y="416"/>
                      <a:pt x="243" y="416"/>
                    </a:cubicBezTo>
                    <a:cubicBezTo>
                      <a:pt x="243" y="416"/>
                      <a:pt x="243" y="416"/>
                      <a:pt x="243" y="416"/>
                    </a:cubicBezTo>
                    <a:cubicBezTo>
                      <a:pt x="235" y="416"/>
                      <a:pt x="228" y="414"/>
                      <a:pt x="221" y="412"/>
                    </a:cubicBezTo>
                    <a:cubicBezTo>
                      <a:pt x="216" y="411"/>
                      <a:pt x="213" y="407"/>
                      <a:pt x="213" y="401"/>
                    </a:cubicBezTo>
                    <a:cubicBezTo>
                      <a:pt x="213" y="376"/>
                      <a:pt x="213" y="376"/>
                      <a:pt x="213" y="376"/>
                    </a:cubicBezTo>
                    <a:cubicBezTo>
                      <a:pt x="209" y="375"/>
                      <a:pt x="205" y="373"/>
                      <a:pt x="201" y="371"/>
                    </a:cubicBezTo>
                    <a:cubicBezTo>
                      <a:pt x="183" y="389"/>
                      <a:pt x="183" y="389"/>
                      <a:pt x="183" y="389"/>
                    </a:cubicBezTo>
                    <a:cubicBezTo>
                      <a:pt x="179" y="392"/>
                      <a:pt x="174" y="393"/>
                      <a:pt x="169" y="390"/>
                    </a:cubicBezTo>
                    <a:cubicBezTo>
                      <a:pt x="167" y="389"/>
                      <a:pt x="164" y="387"/>
                      <a:pt x="161" y="385"/>
                    </a:cubicBezTo>
                    <a:cubicBezTo>
                      <a:pt x="161" y="384"/>
                      <a:pt x="160" y="384"/>
                      <a:pt x="160" y="384"/>
                    </a:cubicBezTo>
                    <a:cubicBezTo>
                      <a:pt x="160" y="383"/>
                      <a:pt x="159" y="383"/>
                      <a:pt x="158" y="382"/>
                    </a:cubicBezTo>
                    <a:cubicBezTo>
                      <a:pt x="147" y="374"/>
                      <a:pt x="137" y="364"/>
                      <a:pt x="129" y="353"/>
                    </a:cubicBezTo>
                    <a:cubicBezTo>
                      <a:pt x="128" y="352"/>
                      <a:pt x="128" y="352"/>
                      <a:pt x="128" y="351"/>
                    </a:cubicBezTo>
                    <a:cubicBezTo>
                      <a:pt x="127" y="351"/>
                      <a:pt x="127" y="350"/>
                      <a:pt x="127" y="350"/>
                    </a:cubicBezTo>
                    <a:cubicBezTo>
                      <a:pt x="127" y="350"/>
                      <a:pt x="127" y="350"/>
                      <a:pt x="127" y="350"/>
                    </a:cubicBezTo>
                    <a:cubicBezTo>
                      <a:pt x="125" y="347"/>
                      <a:pt x="123" y="345"/>
                      <a:pt x="121" y="342"/>
                    </a:cubicBezTo>
                    <a:cubicBezTo>
                      <a:pt x="118" y="338"/>
                      <a:pt x="119" y="332"/>
                      <a:pt x="122" y="329"/>
                    </a:cubicBezTo>
                    <a:cubicBezTo>
                      <a:pt x="140" y="311"/>
                      <a:pt x="140" y="311"/>
                      <a:pt x="140" y="311"/>
                    </a:cubicBezTo>
                    <a:cubicBezTo>
                      <a:pt x="138" y="307"/>
                      <a:pt x="137" y="303"/>
                      <a:pt x="135" y="298"/>
                    </a:cubicBezTo>
                    <a:cubicBezTo>
                      <a:pt x="110" y="298"/>
                      <a:pt x="110" y="298"/>
                      <a:pt x="110" y="298"/>
                    </a:cubicBezTo>
                    <a:cubicBezTo>
                      <a:pt x="105" y="298"/>
                      <a:pt x="100" y="295"/>
                      <a:pt x="99" y="290"/>
                    </a:cubicBezTo>
                    <a:cubicBezTo>
                      <a:pt x="98" y="283"/>
                      <a:pt x="97" y="276"/>
                      <a:pt x="96" y="268"/>
                    </a:cubicBezTo>
                    <a:cubicBezTo>
                      <a:pt x="96" y="265"/>
                      <a:pt x="96" y="262"/>
                      <a:pt x="96" y="259"/>
                    </a:cubicBezTo>
                    <a:cubicBezTo>
                      <a:pt x="96" y="258"/>
                      <a:pt x="96" y="257"/>
                      <a:pt x="96" y="256"/>
                    </a:cubicBezTo>
                    <a:cubicBezTo>
                      <a:pt x="96" y="256"/>
                      <a:pt x="96" y="256"/>
                      <a:pt x="96" y="256"/>
                    </a:cubicBezTo>
                    <a:cubicBezTo>
                      <a:pt x="96" y="256"/>
                      <a:pt x="96" y="256"/>
                      <a:pt x="96" y="256"/>
                    </a:cubicBezTo>
                    <a:cubicBezTo>
                      <a:pt x="96" y="254"/>
                      <a:pt x="96" y="253"/>
                      <a:pt x="96" y="252"/>
                    </a:cubicBezTo>
                    <a:cubicBezTo>
                      <a:pt x="96" y="249"/>
                      <a:pt x="96" y="246"/>
                      <a:pt x="96" y="243"/>
                    </a:cubicBezTo>
                    <a:cubicBezTo>
                      <a:pt x="96" y="243"/>
                      <a:pt x="96" y="243"/>
                      <a:pt x="96" y="243"/>
                    </a:cubicBezTo>
                    <a:cubicBezTo>
                      <a:pt x="96" y="243"/>
                      <a:pt x="96" y="243"/>
                      <a:pt x="96" y="243"/>
                    </a:cubicBezTo>
                    <a:cubicBezTo>
                      <a:pt x="96" y="243"/>
                      <a:pt x="96" y="243"/>
                      <a:pt x="96" y="243"/>
                    </a:cubicBezTo>
                    <a:cubicBezTo>
                      <a:pt x="97" y="235"/>
                      <a:pt x="98" y="228"/>
                      <a:pt x="99" y="221"/>
                    </a:cubicBezTo>
                    <a:cubicBezTo>
                      <a:pt x="100" y="216"/>
                      <a:pt x="105" y="213"/>
                      <a:pt x="110" y="213"/>
                    </a:cubicBezTo>
                    <a:cubicBezTo>
                      <a:pt x="135" y="213"/>
                      <a:pt x="135" y="213"/>
                      <a:pt x="135" y="213"/>
                    </a:cubicBezTo>
                    <a:cubicBezTo>
                      <a:pt x="137" y="209"/>
                      <a:pt x="138" y="205"/>
                      <a:pt x="140" y="201"/>
                    </a:cubicBezTo>
                    <a:cubicBezTo>
                      <a:pt x="122" y="183"/>
                      <a:pt x="122" y="183"/>
                      <a:pt x="122" y="183"/>
                    </a:cubicBezTo>
                    <a:cubicBezTo>
                      <a:pt x="119" y="179"/>
                      <a:pt x="118" y="174"/>
                      <a:pt x="121" y="169"/>
                    </a:cubicBezTo>
                    <a:cubicBezTo>
                      <a:pt x="123" y="166"/>
                      <a:pt x="125" y="163"/>
                      <a:pt x="128" y="160"/>
                    </a:cubicBezTo>
                    <a:cubicBezTo>
                      <a:pt x="137" y="148"/>
                      <a:pt x="148" y="137"/>
                      <a:pt x="160" y="128"/>
                    </a:cubicBezTo>
                    <a:cubicBezTo>
                      <a:pt x="163" y="125"/>
                      <a:pt x="166" y="123"/>
                      <a:pt x="169" y="121"/>
                    </a:cubicBezTo>
                    <a:cubicBezTo>
                      <a:pt x="174" y="118"/>
                      <a:pt x="179" y="119"/>
                      <a:pt x="183" y="122"/>
                    </a:cubicBezTo>
                    <a:cubicBezTo>
                      <a:pt x="201" y="140"/>
                      <a:pt x="201" y="140"/>
                      <a:pt x="201" y="140"/>
                    </a:cubicBezTo>
                    <a:cubicBezTo>
                      <a:pt x="205" y="138"/>
                      <a:pt x="209" y="137"/>
                      <a:pt x="213" y="135"/>
                    </a:cubicBezTo>
                    <a:cubicBezTo>
                      <a:pt x="213" y="110"/>
                      <a:pt x="213" y="110"/>
                      <a:pt x="213" y="110"/>
                    </a:cubicBezTo>
                    <a:cubicBezTo>
                      <a:pt x="213" y="105"/>
                      <a:pt x="216" y="100"/>
                      <a:pt x="221" y="99"/>
                    </a:cubicBezTo>
                    <a:cubicBezTo>
                      <a:pt x="228" y="98"/>
                      <a:pt x="236" y="97"/>
                      <a:pt x="243" y="96"/>
                    </a:cubicBezTo>
                    <a:cubicBezTo>
                      <a:pt x="251" y="96"/>
                      <a:pt x="260" y="96"/>
                      <a:pt x="268" y="96"/>
                    </a:cubicBezTo>
                    <a:cubicBezTo>
                      <a:pt x="276" y="97"/>
                      <a:pt x="283" y="98"/>
                      <a:pt x="290" y="99"/>
                    </a:cubicBezTo>
                    <a:cubicBezTo>
                      <a:pt x="295" y="100"/>
                      <a:pt x="298" y="105"/>
                      <a:pt x="298" y="110"/>
                    </a:cubicBezTo>
                    <a:cubicBezTo>
                      <a:pt x="298" y="135"/>
                      <a:pt x="298" y="135"/>
                      <a:pt x="298" y="135"/>
                    </a:cubicBezTo>
                    <a:cubicBezTo>
                      <a:pt x="303" y="137"/>
                      <a:pt x="307" y="138"/>
                      <a:pt x="311" y="140"/>
                    </a:cubicBezTo>
                    <a:cubicBezTo>
                      <a:pt x="329" y="122"/>
                      <a:pt x="329" y="122"/>
                      <a:pt x="329" y="122"/>
                    </a:cubicBezTo>
                    <a:cubicBezTo>
                      <a:pt x="332" y="119"/>
                      <a:pt x="338" y="118"/>
                      <a:pt x="342" y="121"/>
                    </a:cubicBezTo>
                    <a:cubicBezTo>
                      <a:pt x="345" y="123"/>
                      <a:pt x="347" y="125"/>
                      <a:pt x="350" y="127"/>
                    </a:cubicBezTo>
                    <a:cubicBezTo>
                      <a:pt x="350" y="127"/>
                      <a:pt x="351" y="127"/>
                      <a:pt x="351" y="128"/>
                    </a:cubicBezTo>
                    <a:cubicBezTo>
                      <a:pt x="352" y="128"/>
                      <a:pt x="353" y="129"/>
                      <a:pt x="353" y="129"/>
                    </a:cubicBezTo>
                    <a:cubicBezTo>
                      <a:pt x="364" y="137"/>
                      <a:pt x="374" y="147"/>
                      <a:pt x="383" y="159"/>
                    </a:cubicBezTo>
                    <a:cubicBezTo>
                      <a:pt x="383" y="159"/>
                      <a:pt x="383" y="159"/>
                      <a:pt x="384" y="160"/>
                    </a:cubicBezTo>
                    <a:cubicBezTo>
                      <a:pt x="384" y="160"/>
                      <a:pt x="384" y="161"/>
                      <a:pt x="385" y="161"/>
                    </a:cubicBezTo>
                    <a:cubicBezTo>
                      <a:pt x="385" y="162"/>
                      <a:pt x="385" y="162"/>
                      <a:pt x="385" y="162"/>
                    </a:cubicBezTo>
                    <a:cubicBezTo>
                      <a:pt x="387" y="164"/>
                      <a:pt x="389" y="167"/>
                      <a:pt x="390" y="169"/>
                    </a:cubicBezTo>
                    <a:cubicBezTo>
                      <a:pt x="393" y="174"/>
                      <a:pt x="392" y="179"/>
                      <a:pt x="389" y="183"/>
                    </a:cubicBezTo>
                    <a:cubicBezTo>
                      <a:pt x="371" y="201"/>
                      <a:pt x="371" y="201"/>
                      <a:pt x="371" y="201"/>
                    </a:cubicBezTo>
                    <a:cubicBezTo>
                      <a:pt x="373" y="205"/>
                      <a:pt x="375" y="209"/>
                      <a:pt x="376" y="213"/>
                    </a:cubicBezTo>
                    <a:cubicBezTo>
                      <a:pt x="401" y="213"/>
                      <a:pt x="401" y="213"/>
                      <a:pt x="401" y="213"/>
                    </a:cubicBezTo>
                    <a:cubicBezTo>
                      <a:pt x="406" y="213"/>
                      <a:pt x="411" y="216"/>
                      <a:pt x="412" y="221"/>
                    </a:cubicBezTo>
                    <a:cubicBezTo>
                      <a:pt x="414" y="228"/>
                      <a:pt x="414" y="235"/>
                      <a:pt x="416" y="243"/>
                    </a:cubicBezTo>
                    <a:cubicBezTo>
                      <a:pt x="416" y="243"/>
                      <a:pt x="416" y="243"/>
                      <a:pt x="416" y="243"/>
                    </a:cubicBezTo>
                    <a:cubicBezTo>
                      <a:pt x="416" y="247"/>
                      <a:pt x="416" y="251"/>
                      <a:pt x="416" y="256"/>
                    </a:cubicBezTo>
                    <a:cubicBezTo>
                      <a:pt x="416" y="260"/>
                      <a:pt x="415" y="264"/>
                      <a:pt x="415" y="26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2" name="Teardrop 51">
                <a:extLst>
                  <a:ext uri="{FF2B5EF4-FFF2-40B4-BE49-F238E27FC236}">
                    <a16:creationId xmlns:a16="http://schemas.microsoft.com/office/drawing/2014/main" id="{5B02CCF0-C997-CA61-EE78-E576ACA146F6}"/>
                  </a:ext>
                </a:extLst>
              </p:cNvPr>
              <p:cNvSpPr/>
              <p:nvPr/>
            </p:nvSpPr>
            <p:spPr bwMode="gray">
              <a:xfrm flipH="1">
                <a:off x="4648200" y="2025766"/>
                <a:ext cx="742660" cy="742660"/>
              </a:xfrm>
              <a:prstGeom prst="teardrop">
                <a:avLst>
                  <a:gd name="adj" fmla="val 115000"/>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3" name="Oval 52">
                <a:extLst>
                  <a:ext uri="{FF2B5EF4-FFF2-40B4-BE49-F238E27FC236}">
                    <a16:creationId xmlns:a16="http://schemas.microsoft.com/office/drawing/2014/main" id="{C8C56541-B079-61F8-EF70-390028BEC08C}"/>
                  </a:ext>
                </a:extLst>
              </p:cNvPr>
              <p:cNvSpPr/>
              <p:nvPr/>
            </p:nvSpPr>
            <p:spPr bwMode="gray">
              <a:xfrm flipH="1">
                <a:off x="4717825" y="2095391"/>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4" name="Teardrop 53">
                <a:extLst>
                  <a:ext uri="{FF2B5EF4-FFF2-40B4-BE49-F238E27FC236}">
                    <a16:creationId xmlns:a16="http://schemas.microsoft.com/office/drawing/2014/main" id="{20268245-6610-0B1B-B111-0EDBFA08AB06}"/>
                  </a:ext>
                </a:extLst>
              </p:cNvPr>
              <p:cNvSpPr/>
              <p:nvPr/>
            </p:nvSpPr>
            <p:spPr bwMode="gray">
              <a:xfrm rot="16659625" flipH="1">
                <a:off x="4648200" y="4486391"/>
                <a:ext cx="742660" cy="742660"/>
              </a:xfrm>
              <a:prstGeom prst="teardrop">
                <a:avLst>
                  <a:gd name="adj" fmla="val 115000"/>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8" name="Oval 57">
                <a:extLst>
                  <a:ext uri="{FF2B5EF4-FFF2-40B4-BE49-F238E27FC236}">
                    <a16:creationId xmlns:a16="http://schemas.microsoft.com/office/drawing/2014/main" id="{4FD3E953-CBDB-C1EC-AF96-2C16876D96A3}"/>
                  </a:ext>
                </a:extLst>
              </p:cNvPr>
              <p:cNvSpPr/>
              <p:nvPr/>
            </p:nvSpPr>
            <p:spPr bwMode="gray">
              <a:xfrm rot="16659625" flipH="1">
                <a:off x="4717825" y="4556016"/>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0" name="Freeform 976">
                <a:extLst>
                  <a:ext uri="{FF2B5EF4-FFF2-40B4-BE49-F238E27FC236}">
                    <a16:creationId xmlns:a16="http://schemas.microsoft.com/office/drawing/2014/main" id="{CFB89789-F4CD-DFF7-A158-0AB77A9B30CB}"/>
                  </a:ext>
                </a:extLst>
              </p:cNvPr>
              <p:cNvSpPr>
                <a:spLocks noChangeAspect="1" noEditPoints="1"/>
              </p:cNvSpPr>
              <p:nvPr/>
            </p:nvSpPr>
            <p:spPr bwMode="auto">
              <a:xfrm>
                <a:off x="4749783" y="4587973"/>
                <a:ext cx="539497" cy="53949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1" name="Teardrop 60">
                <a:extLst>
                  <a:ext uri="{FF2B5EF4-FFF2-40B4-BE49-F238E27FC236}">
                    <a16:creationId xmlns:a16="http://schemas.microsoft.com/office/drawing/2014/main" id="{841225D1-35D3-4A26-02BF-6CFC16577D9C}"/>
                  </a:ext>
                </a:extLst>
              </p:cNvPr>
              <p:cNvSpPr/>
              <p:nvPr/>
            </p:nvSpPr>
            <p:spPr bwMode="gray">
              <a:xfrm rot="4940375">
                <a:off x="6792244" y="4486391"/>
                <a:ext cx="742660" cy="742660"/>
              </a:xfrm>
              <a:prstGeom prst="teardrop">
                <a:avLst>
                  <a:gd name="adj" fmla="val 115000"/>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2" name="Oval 61">
                <a:extLst>
                  <a:ext uri="{FF2B5EF4-FFF2-40B4-BE49-F238E27FC236}">
                    <a16:creationId xmlns:a16="http://schemas.microsoft.com/office/drawing/2014/main" id="{45838DDB-97AA-673C-D84E-B54D4DCD9D17}"/>
                  </a:ext>
                </a:extLst>
              </p:cNvPr>
              <p:cNvSpPr/>
              <p:nvPr/>
            </p:nvSpPr>
            <p:spPr bwMode="gray">
              <a:xfrm rot="4940375">
                <a:off x="6861869" y="4556016"/>
                <a:ext cx="603410" cy="603410"/>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3" name="Freeform 723">
                <a:extLst>
                  <a:ext uri="{FF2B5EF4-FFF2-40B4-BE49-F238E27FC236}">
                    <a16:creationId xmlns:a16="http://schemas.microsoft.com/office/drawing/2014/main" id="{B50A2743-7D39-CA91-2CAB-316686E8FCFE}"/>
                  </a:ext>
                </a:extLst>
              </p:cNvPr>
              <p:cNvSpPr>
                <a:spLocks noChangeAspect="1" noEditPoints="1"/>
              </p:cNvSpPr>
              <p:nvPr/>
            </p:nvSpPr>
            <p:spPr bwMode="auto">
              <a:xfrm>
                <a:off x="6893826" y="4587973"/>
                <a:ext cx="539495" cy="539496"/>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rgbClr val="009A4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7" name="Freeform 84">
                <a:extLst>
                  <a:ext uri="{FF2B5EF4-FFF2-40B4-BE49-F238E27FC236}">
                    <a16:creationId xmlns:a16="http://schemas.microsoft.com/office/drawing/2014/main" id="{2A8CA4CF-9A6F-D78B-0C9F-17E8035167FB}"/>
                  </a:ext>
                </a:extLst>
              </p:cNvPr>
              <p:cNvSpPr>
                <a:spLocks noChangeAspect="1" noEditPoints="1"/>
              </p:cNvSpPr>
              <p:nvPr/>
            </p:nvSpPr>
            <p:spPr bwMode="auto">
              <a:xfrm>
                <a:off x="4749782" y="2127348"/>
                <a:ext cx="539496" cy="53949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7 w 512"/>
                  <a:gd name="T11" fmla="*/ 208 h 512"/>
                  <a:gd name="T12" fmla="*/ 213 w 512"/>
                  <a:gd name="T13" fmla="*/ 208 h 512"/>
                  <a:gd name="T14" fmla="*/ 256 w 512"/>
                  <a:gd name="T15" fmla="*/ 252 h 512"/>
                  <a:gd name="T16" fmla="*/ 280 w 512"/>
                  <a:gd name="T17" fmla="*/ 227 h 512"/>
                  <a:gd name="T18" fmla="*/ 295 w 512"/>
                  <a:gd name="T19" fmla="*/ 227 h 512"/>
                  <a:gd name="T20" fmla="*/ 295 w 512"/>
                  <a:gd name="T21" fmla="*/ 242 h 512"/>
                  <a:gd name="T22" fmla="*/ 263 w 512"/>
                  <a:gd name="T23" fmla="*/ 274 h 512"/>
                  <a:gd name="T24" fmla="*/ 256 w 512"/>
                  <a:gd name="T25" fmla="*/ 277 h 512"/>
                  <a:gd name="T26" fmla="*/ 248 w 512"/>
                  <a:gd name="T27" fmla="*/ 274 h 512"/>
                  <a:gd name="T28" fmla="*/ 197 w 512"/>
                  <a:gd name="T29" fmla="*/ 224 h 512"/>
                  <a:gd name="T30" fmla="*/ 197 w 512"/>
                  <a:gd name="T31" fmla="*/ 208 h 512"/>
                  <a:gd name="T32" fmla="*/ 256 w 512"/>
                  <a:gd name="T33" fmla="*/ 384 h 512"/>
                  <a:gd name="T34" fmla="*/ 245 w 512"/>
                  <a:gd name="T35" fmla="*/ 373 h 512"/>
                  <a:gd name="T36" fmla="*/ 256 w 512"/>
                  <a:gd name="T37" fmla="*/ 363 h 512"/>
                  <a:gd name="T38" fmla="*/ 362 w 512"/>
                  <a:gd name="T39" fmla="*/ 256 h 512"/>
                  <a:gd name="T40" fmla="*/ 256 w 512"/>
                  <a:gd name="T41" fmla="*/ 149 h 512"/>
                  <a:gd name="T42" fmla="*/ 149 w 512"/>
                  <a:gd name="T43" fmla="*/ 256 h 512"/>
                  <a:gd name="T44" fmla="*/ 170 w 512"/>
                  <a:gd name="T45" fmla="*/ 320 h 512"/>
                  <a:gd name="T46" fmla="*/ 170 w 512"/>
                  <a:gd name="T47" fmla="*/ 288 h 512"/>
                  <a:gd name="T48" fmla="*/ 180 w 512"/>
                  <a:gd name="T49" fmla="*/ 277 h 512"/>
                  <a:gd name="T50" fmla="*/ 191 w 512"/>
                  <a:gd name="T51" fmla="*/ 288 h 512"/>
                  <a:gd name="T52" fmla="*/ 191 w 512"/>
                  <a:gd name="T53" fmla="*/ 341 h 512"/>
                  <a:gd name="T54" fmla="*/ 181 w 512"/>
                  <a:gd name="T55" fmla="*/ 353 h 512"/>
                  <a:gd name="T56" fmla="*/ 128 w 512"/>
                  <a:gd name="T57" fmla="*/ 353 h 512"/>
                  <a:gd name="T58" fmla="*/ 117 w 512"/>
                  <a:gd name="T59" fmla="*/ 342 h 512"/>
                  <a:gd name="T60" fmla="*/ 128 w 512"/>
                  <a:gd name="T61" fmla="*/ 331 h 512"/>
                  <a:gd name="T62" fmla="*/ 152 w 512"/>
                  <a:gd name="T63" fmla="*/ 331 h 512"/>
                  <a:gd name="T64" fmla="*/ 128 w 512"/>
                  <a:gd name="T65" fmla="*/ 256 h 512"/>
                  <a:gd name="T66" fmla="*/ 256 w 512"/>
                  <a:gd name="T67" fmla="*/ 128 h 512"/>
                  <a:gd name="T68" fmla="*/ 384 w 512"/>
                  <a:gd name="T69" fmla="*/ 256 h 512"/>
                  <a:gd name="T70" fmla="*/ 256 w 512"/>
                  <a:gd name="T71"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7" y="208"/>
                    </a:moveTo>
                    <a:cubicBezTo>
                      <a:pt x="202" y="204"/>
                      <a:pt x="208" y="204"/>
                      <a:pt x="213" y="208"/>
                    </a:cubicBezTo>
                    <a:cubicBezTo>
                      <a:pt x="256" y="252"/>
                      <a:pt x="256" y="252"/>
                      <a:pt x="256" y="252"/>
                    </a:cubicBezTo>
                    <a:cubicBezTo>
                      <a:pt x="280" y="227"/>
                      <a:pt x="280" y="227"/>
                      <a:pt x="280" y="227"/>
                    </a:cubicBezTo>
                    <a:cubicBezTo>
                      <a:pt x="284" y="223"/>
                      <a:pt x="291" y="223"/>
                      <a:pt x="295" y="227"/>
                    </a:cubicBezTo>
                    <a:cubicBezTo>
                      <a:pt x="299" y="231"/>
                      <a:pt x="299" y="238"/>
                      <a:pt x="295" y="242"/>
                    </a:cubicBezTo>
                    <a:cubicBezTo>
                      <a:pt x="263" y="274"/>
                      <a:pt x="263" y="274"/>
                      <a:pt x="263" y="274"/>
                    </a:cubicBezTo>
                    <a:cubicBezTo>
                      <a:pt x="261" y="276"/>
                      <a:pt x="258" y="277"/>
                      <a:pt x="256" y="277"/>
                    </a:cubicBezTo>
                    <a:cubicBezTo>
                      <a:pt x="253" y="277"/>
                      <a:pt x="250" y="276"/>
                      <a:pt x="248" y="274"/>
                    </a:cubicBezTo>
                    <a:cubicBezTo>
                      <a:pt x="197" y="224"/>
                      <a:pt x="197" y="224"/>
                      <a:pt x="197" y="224"/>
                    </a:cubicBezTo>
                    <a:cubicBezTo>
                      <a:pt x="193" y="219"/>
                      <a:pt x="193" y="213"/>
                      <a:pt x="197" y="208"/>
                    </a:cubicBezTo>
                    <a:close/>
                    <a:moveTo>
                      <a:pt x="256" y="384"/>
                    </a:moveTo>
                    <a:cubicBezTo>
                      <a:pt x="250" y="384"/>
                      <a:pt x="245" y="379"/>
                      <a:pt x="245" y="373"/>
                    </a:cubicBezTo>
                    <a:cubicBezTo>
                      <a:pt x="245" y="367"/>
                      <a:pt x="250" y="363"/>
                      <a:pt x="256" y="363"/>
                    </a:cubicBezTo>
                    <a:cubicBezTo>
                      <a:pt x="314" y="363"/>
                      <a:pt x="362" y="315"/>
                      <a:pt x="362" y="256"/>
                    </a:cubicBezTo>
                    <a:cubicBezTo>
                      <a:pt x="362" y="197"/>
                      <a:pt x="314" y="149"/>
                      <a:pt x="256" y="149"/>
                    </a:cubicBezTo>
                    <a:cubicBezTo>
                      <a:pt x="197" y="149"/>
                      <a:pt x="149" y="197"/>
                      <a:pt x="149" y="256"/>
                    </a:cubicBezTo>
                    <a:cubicBezTo>
                      <a:pt x="149" y="279"/>
                      <a:pt x="156" y="302"/>
                      <a:pt x="170" y="320"/>
                    </a:cubicBezTo>
                    <a:cubicBezTo>
                      <a:pt x="170" y="288"/>
                      <a:pt x="170" y="288"/>
                      <a:pt x="170" y="288"/>
                    </a:cubicBezTo>
                    <a:cubicBezTo>
                      <a:pt x="170" y="282"/>
                      <a:pt x="174" y="277"/>
                      <a:pt x="180" y="277"/>
                    </a:cubicBezTo>
                    <a:cubicBezTo>
                      <a:pt x="186" y="277"/>
                      <a:pt x="191" y="282"/>
                      <a:pt x="191" y="288"/>
                    </a:cubicBezTo>
                    <a:cubicBezTo>
                      <a:pt x="191" y="341"/>
                      <a:pt x="191" y="341"/>
                      <a:pt x="191" y="341"/>
                    </a:cubicBezTo>
                    <a:cubicBezTo>
                      <a:pt x="191" y="347"/>
                      <a:pt x="187" y="353"/>
                      <a:pt x="181" y="353"/>
                    </a:cubicBezTo>
                    <a:cubicBezTo>
                      <a:pt x="128" y="353"/>
                      <a:pt x="128" y="353"/>
                      <a:pt x="128" y="353"/>
                    </a:cubicBezTo>
                    <a:cubicBezTo>
                      <a:pt x="122" y="353"/>
                      <a:pt x="117" y="348"/>
                      <a:pt x="117" y="342"/>
                    </a:cubicBezTo>
                    <a:cubicBezTo>
                      <a:pt x="117" y="336"/>
                      <a:pt x="122" y="331"/>
                      <a:pt x="128" y="331"/>
                    </a:cubicBezTo>
                    <a:cubicBezTo>
                      <a:pt x="152" y="331"/>
                      <a:pt x="152" y="331"/>
                      <a:pt x="152" y="331"/>
                    </a:cubicBezTo>
                    <a:cubicBezTo>
                      <a:pt x="136" y="309"/>
                      <a:pt x="128" y="283"/>
                      <a:pt x="128" y="256"/>
                    </a:cubicBezTo>
                    <a:cubicBezTo>
                      <a:pt x="128" y="186"/>
                      <a:pt x="185" y="128"/>
                      <a:pt x="256" y="128"/>
                    </a:cubicBezTo>
                    <a:cubicBezTo>
                      <a:pt x="326" y="128"/>
                      <a:pt x="384" y="186"/>
                      <a:pt x="384" y="256"/>
                    </a:cubicBezTo>
                    <a:cubicBezTo>
                      <a:pt x="384" y="327"/>
                      <a:pt x="326" y="384"/>
                      <a:pt x="256" y="3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grpSp>
    </p:spTree>
    <p:extLst>
      <p:ext uri="{BB962C8B-B14F-4D97-AF65-F5344CB8AC3E}">
        <p14:creationId xmlns:p14="http://schemas.microsoft.com/office/powerpoint/2010/main" val="234365866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5E44962-49CE-4DC5-A317-1F23F929BFC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0" y="135"/>
            <a:ext cx="12189278" cy="6857730"/>
          </a:xfrm>
          <a:prstGeom prst="rect">
            <a:avLst/>
          </a:prstGeom>
        </p:spPr>
      </p:pic>
      <p:grpSp>
        <p:nvGrpSpPr>
          <p:cNvPr id="3" name="Group 2">
            <a:extLst>
              <a:ext uri="{FF2B5EF4-FFF2-40B4-BE49-F238E27FC236}">
                <a16:creationId xmlns:a16="http://schemas.microsoft.com/office/drawing/2014/main" id="{A2633686-B252-4117-B71D-82F282D8A58A}"/>
              </a:ext>
            </a:extLst>
          </p:cNvPr>
          <p:cNvGrpSpPr/>
          <p:nvPr/>
        </p:nvGrpSpPr>
        <p:grpSpPr>
          <a:xfrm rot="10800000">
            <a:off x="557169" y="2323428"/>
            <a:ext cx="3811375" cy="4058207"/>
            <a:chOff x="469900" y="457199"/>
            <a:chExt cx="3024224" cy="3478335"/>
          </a:xfrm>
        </p:grpSpPr>
        <p:sp>
          <p:nvSpPr>
            <p:cNvPr id="7" name="Text Placeholder 5">
              <a:extLst>
                <a:ext uri="{FF2B5EF4-FFF2-40B4-BE49-F238E27FC236}">
                  <a16:creationId xmlns:a16="http://schemas.microsoft.com/office/drawing/2014/main" id="{830C464B-2C34-0A45-9F93-AFD72C96F3EA}"/>
                </a:ext>
              </a:extLst>
            </p:cNvPr>
            <p:cNvSpPr txBox="1">
              <a:spLocks/>
            </p:cNvSpPr>
            <p:nvPr>
              <p:custDataLst>
                <p:tags r:id="rId1"/>
              </p:custDataLst>
            </p:nvPr>
          </p:nvSpPr>
          <p:spPr>
            <a:xfrm rot="5400000">
              <a:off x="242844" y="684255"/>
              <a:ext cx="3478335" cy="3024224"/>
            </a:xfrm>
            <a:prstGeom prst="homePlate">
              <a:avLst>
                <a:gd name="adj" fmla="val 26427"/>
              </a:avLst>
            </a:prstGeom>
            <a:solidFill>
              <a:schemeClr val="tx1">
                <a:alpha val="42000"/>
              </a:schemeClr>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endParaRPr kumimoji="0" lang="en-US" sz="1100" b="1" i="0" u="none" strike="noStrike" kern="1200" cap="none" spc="0" normalizeH="0" baseline="0" noProof="0" dirty="0">
                <a:ln>
                  <a:noFill/>
                </a:ln>
                <a:solidFill>
                  <a:srgbClr val="FFFFFF"/>
                </a:solidFill>
                <a:effectLst/>
                <a:uLnTx/>
                <a:uFillTx/>
                <a:latin typeface="Calibri Light"/>
                <a:ea typeface="+mj-ea"/>
                <a:cs typeface="+mj-cs"/>
              </a:endParaRPr>
            </a:p>
          </p:txBody>
        </p:sp>
        <p:sp>
          <p:nvSpPr>
            <p:cNvPr id="8" name="Text Placeholder 5">
              <a:extLst>
                <a:ext uri="{FF2B5EF4-FFF2-40B4-BE49-F238E27FC236}">
                  <a16:creationId xmlns:a16="http://schemas.microsoft.com/office/drawing/2014/main" id="{095FC11C-AA67-3A43-8D6D-568D9091AAD2}"/>
                </a:ext>
              </a:extLst>
            </p:cNvPr>
            <p:cNvSpPr txBox="1">
              <a:spLocks noChangeAspect="1"/>
            </p:cNvSpPr>
            <p:nvPr>
              <p:custDataLst>
                <p:tags r:id="rId2"/>
              </p:custDataLst>
            </p:nvPr>
          </p:nvSpPr>
          <p:spPr>
            <a:xfrm rot="5400000">
              <a:off x="456444" y="847080"/>
              <a:ext cx="3051138" cy="2652803"/>
            </a:xfrm>
            <a:prstGeom prst="homePlate">
              <a:avLst>
                <a:gd name="adj" fmla="val 26427"/>
              </a:avLst>
            </a:prstGeom>
            <a:solidFill>
              <a:schemeClr val="accent2"/>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r>
                <a:rPr kumimoji="0" lang="en-US" sz="1100" b="1" i="0" u="none" strike="noStrike" kern="1200" cap="none" spc="0" normalizeH="0" baseline="0" noProof="0" dirty="0">
                  <a:ln>
                    <a:noFill/>
                  </a:ln>
                  <a:solidFill>
                    <a:srgbClr val="FFFFFF"/>
                  </a:solidFill>
                  <a:effectLst/>
                  <a:uLnTx/>
                  <a:uFillTx/>
                  <a:latin typeface="Calibri Light"/>
                  <a:ea typeface="+mj-ea"/>
                  <a:cs typeface="+mj-cs"/>
                </a:rPr>
                <a:t>  </a:t>
              </a:r>
            </a:p>
          </p:txBody>
        </p:sp>
      </p:grpSp>
      <p:sp>
        <p:nvSpPr>
          <p:cNvPr id="12" name="TextBox 11">
            <a:extLst>
              <a:ext uri="{FF2B5EF4-FFF2-40B4-BE49-F238E27FC236}">
                <a16:creationId xmlns:a16="http://schemas.microsoft.com/office/drawing/2014/main" id="{A90E5C25-09D2-4942-83F8-411A329AD38B}"/>
              </a:ext>
            </a:extLst>
          </p:cNvPr>
          <p:cNvSpPr txBox="1"/>
          <p:nvPr/>
        </p:nvSpPr>
        <p:spPr>
          <a:xfrm>
            <a:off x="1105385" y="3871427"/>
            <a:ext cx="2714937" cy="984885"/>
          </a:xfrm>
          <a:prstGeom prst="rect">
            <a:avLst/>
          </a:prstGeom>
          <a:noFill/>
        </p:spPr>
        <p:txBody>
          <a:bodyPr wrap="square" lIns="0" tIns="0" rIns="0" bIns="0" rtlCol="0">
            <a:spAutoFit/>
          </a:bodyPr>
          <a:lstStyle/>
          <a:p>
            <a:pPr marL="0" marR="0" lvl="0" indent="0" algn="ctr" defTabSz="914335" rtl="0" eaLnBrk="1" fontAlgn="auto" latinLnBrk="0" hangingPunct="1">
              <a:lnSpc>
                <a:spcPct val="100000"/>
              </a:lnSpc>
              <a:spcBef>
                <a:spcPts val="600"/>
              </a:spcBef>
              <a:spcAft>
                <a:spcPts val="0"/>
              </a:spcAft>
              <a:buClrTx/>
              <a:buSzPct val="100000"/>
              <a:buFontTx/>
              <a:buNone/>
              <a:tabLst/>
              <a:defRPr/>
            </a:pPr>
            <a:r>
              <a:rPr lang="en-US" sz="3200" b="1" dirty="0">
                <a:solidFill>
                  <a:prstClr val="white"/>
                </a:solidFill>
                <a:latin typeface="Calibri Light" panose="020F0302020204030204" pitchFamily="34" charset="0"/>
                <a:cs typeface="Calibri Light" panose="020F0302020204030204" pitchFamily="34" charset="0"/>
              </a:rPr>
              <a:t>Deloitte’s Commitment</a:t>
            </a:r>
            <a:endParaRPr kumimoji="0" lang="en-US" sz="32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43024548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
            <a:extLst>
              <a:ext uri="{FF2B5EF4-FFF2-40B4-BE49-F238E27FC236}">
                <a16:creationId xmlns:a16="http://schemas.microsoft.com/office/drawing/2014/main" id="{C17B8679-D757-4E67-94BF-048E71DE80B5}"/>
              </a:ext>
            </a:extLst>
          </p:cNvPr>
          <p:cNvSpPr>
            <a:spLocks noGrp="1"/>
          </p:cNvSpPr>
          <p:nvPr>
            <p:ph type="title"/>
          </p:nvPr>
        </p:nvSpPr>
        <p:spPr>
          <a:xfrm>
            <a:off x="501650" y="317500"/>
            <a:ext cx="9163050" cy="334102"/>
          </a:xfrm>
        </p:spPr>
        <p:txBody>
          <a:bodyPr/>
          <a:lstStyle/>
          <a:p>
            <a:r>
              <a:rPr lang="en-US" b="1" noProof="0" dirty="0"/>
              <a:t>Deloitte’s Commitment</a:t>
            </a:r>
          </a:p>
        </p:txBody>
      </p:sp>
      <p:sp>
        <p:nvSpPr>
          <p:cNvPr id="2" name="Rectangle: Rounded Corners 1">
            <a:extLst>
              <a:ext uri="{FF2B5EF4-FFF2-40B4-BE49-F238E27FC236}">
                <a16:creationId xmlns:a16="http://schemas.microsoft.com/office/drawing/2014/main" id="{4ED23DD5-8943-DEE6-E509-5EE3A725C572}"/>
              </a:ext>
            </a:extLst>
          </p:cNvPr>
          <p:cNvSpPr/>
          <p:nvPr/>
        </p:nvSpPr>
        <p:spPr bwMode="gray">
          <a:xfrm>
            <a:off x="923109" y="1175657"/>
            <a:ext cx="4799693" cy="4998720"/>
          </a:xfrm>
          <a:prstGeom prst="roundRect">
            <a:avLst/>
          </a:prstGeom>
          <a:solidFill>
            <a:schemeClr val="accent1"/>
          </a:solidFill>
          <a:ln w="19050" algn="ctr">
            <a:solidFill>
              <a:schemeClr val="bg1"/>
            </a:solid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extBox 3">
            <a:extLst>
              <a:ext uri="{FF2B5EF4-FFF2-40B4-BE49-F238E27FC236}">
                <a16:creationId xmlns:a16="http://schemas.microsoft.com/office/drawing/2014/main" id="{003F581C-F309-6452-2B67-66C6E6852B79}"/>
              </a:ext>
            </a:extLst>
          </p:cNvPr>
          <p:cNvSpPr txBox="1"/>
          <p:nvPr/>
        </p:nvSpPr>
        <p:spPr>
          <a:xfrm>
            <a:off x="1142093" y="1365090"/>
            <a:ext cx="4519749" cy="4619854"/>
          </a:xfrm>
          <a:prstGeom prst="rect">
            <a:avLst/>
          </a:prstGeom>
          <a:noFill/>
        </p:spPr>
        <p:txBody>
          <a:bodyPr wrap="square">
            <a:spAutoFit/>
          </a:bodyPr>
          <a:lstStyle/>
          <a:p>
            <a:pPr>
              <a:lnSpc>
                <a:spcPct val="150000"/>
              </a:lnSpc>
            </a:pPr>
            <a:r>
              <a:rPr lang="en-US" dirty="0">
                <a:solidFill>
                  <a:schemeClr val="bg1"/>
                </a:solidFill>
              </a:rPr>
              <a:t>At Deloitte, we are committed to supporting the power sector in Liberia through our extensive experience and expertise. Our capabilities span the entire energy value chain, from strategic advisory and project management to financial structuring and technology implementation. We bring a deep understanding of the local context combined with global best practices, ensuring that our solutions are tailored, sustainable, and impactful.</a:t>
            </a:r>
          </a:p>
        </p:txBody>
      </p:sp>
      <p:sp>
        <p:nvSpPr>
          <p:cNvPr id="5" name="Rectangle 4" descr="Firemen in a huddle">
            <a:extLst>
              <a:ext uri="{FF2B5EF4-FFF2-40B4-BE49-F238E27FC236}">
                <a16:creationId xmlns:a16="http://schemas.microsoft.com/office/drawing/2014/main" id="{2E936A8D-25FC-7A98-F5F6-B92B9FD1B7A3}"/>
              </a:ext>
            </a:extLst>
          </p:cNvPr>
          <p:cNvSpPr/>
          <p:nvPr/>
        </p:nvSpPr>
        <p:spPr bwMode="gray">
          <a:xfrm>
            <a:off x="6601096" y="0"/>
            <a:ext cx="5590904" cy="6858000"/>
          </a:xfrm>
          <a:prstGeom prst="rect">
            <a:avLst/>
          </a:prstGeom>
          <a:blipFill dpi="0" rotWithShape="1">
            <a:blip r:embed="rId3" cstate="screen">
              <a:extLst>
                <a:ext uri="{28A0092B-C50C-407E-A947-70E740481C1C}">
                  <a14:useLocalDpi xmlns:a14="http://schemas.microsoft.com/office/drawing/2010/main"/>
                </a:ext>
              </a:extLst>
            </a:blip>
            <a:srcRect/>
            <a:stretch>
              <a:fillRect l="38"/>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6895118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8207245-51CF-4E4F-847C-D768EE10210B}"/>
              </a:ext>
            </a:extLst>
          </p:cNvPr>
          <p:cNvSpPr>
            <a:spLocks noGrp="1"/>
          </p:cNvSpPr>
          <p:nvPr>
            <p:ph type="title"/>
          </p:nvPr>
        </p:nvSpPr>
        <p:spPr>
          <a:xfrm>
            <a:off x="501651" y="317501"/>
            <a:ext cx="11162349" cy="247984"/>
          </a:xfrm>
        </p:spPr>
        <p:txBody>
          <a:bodyPr/>
          <a:lstStyle/>
          <a:p>
            <a:r>
              <a:rPr lang="en-US" b="1" dirty="0"/>
              <a:t>Deloitte’s Commitment</a:t>
            </a:r>
          </a:p>
        </p:txBody>
      </p:sp>
      <p:sp>
        <p:nvSpPr>
          <p:cNvPr id="3" name="Freeform 66">
            <a:extLst>
              <a:ext uri="{FF2B5EF4-FFF2-40B4-BE49-F238E27FC236}">
                <a16:creationId xmlns:a16="http://schemas.microsoft.com/office/drawing/2014/main" id="{F0AF1D86-E6B5-E799-F148-D7463D79A649}"/>
              </a:ext>
            </a:extLst>
          </p:cNvPr>
          <p:cNvSpPr>
            <a:spLocks noChangeArrowheads="1"/>
          </p:cNvSpPr>
          <p:nvPr/>
        </p:nvSpPr>
        <p:spPr bwMode="auto">
          <a:xfrm>
            <a:off x="2021052" y="1343601"/>
            <a:ext cx="1117837" cy="966279"/>
          </a:xfrm>
          <a:custGeom>
            <a:avLst/>
            <a:gdLst>
              <a:gd name="T0" fmla="*/ 184457 w 2049"/>
              <a:gd name="T1" fmla="*/ 0 h 1774"/>
              <a:gd name="T2" fmla="*/ 553371 w 2049"/>
              <a:gd name="T3" fmla="*/ 0 h 1774"/>
              <a:gd name="T4" fmla="*/ 737828 w 2049"/>
              <a:gd name="T5" fmla="*/ 319088 h 1774"/>
              <a:gd name="T6" fmla="*/ 553371 w 2049"/>
              <a:gd name="T7" fmla="*/ 637815 h 1774"/>
              <a:gd name="T8" fmla="*/ 184457 w 2049"/>
              <a:gd name="T9" fmla="*/ 637815 h 1774"/>
              <a:gd name="T10" fmla="*/ 0 w 2049"/>
              <a:gd name="T11" fmla="*/ 319088 h 1774"/>
              <a:gd name="T12" fmla="*/ 184457 w 2049"/>
              <a:gd name="T13" fmla="*/ 0 h 177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49" h="1774">
                <a:moveTo>
                  <a:pt x="512" y="0"/>
                </a:moveTo>
                <a:lnTo>
                  <a:pt x="1536" y="0"/>
                </a:lnTo>
                <a:lnTo>
                  <a:pt x="2048" y="887"/>
                </a:lnTo>
                <a:lnTo>
                  <a:pt x="1536" y="1773"/>
                </a:lnTo>
                <a:lnTo>
                  <a:pt x="512" y="1773"/>
                </a:lnTo>
                <a:lnTo>
                  <a:pt x="0" y="887"/>
                </a:lnTo>
                <a:lnTo>
                  <a:pt x="512" y="0"/>
                </a:lnTo>
              </a:path>
            </a:pathLst>
          </a:custGeom>
          <a:solidFill>
            <a:schemeClr val="accent4"/>
          </a:solidFill>
          <a:ln>
            <a:noFill/>
          </a:ln>
          <a:effectLst/>
        </p:spPr>
        <p:txBody>
          <a:bodyPr wrap="none" anchor="ctr"/>
          <a:lstStyle/>
          <a:p>
            <a:endParaRPr lang="en-US" sz="6530" dirty="0">
              <a:latin typeface="DM Sans" pitchFamily="2" charset="77"/>
            </a:endParaRPr>
          </a:p>
        </p:txBody>
      </p:sp>
      <p:sp>
        <p:nvSpPr>
          <p:cNvPr id="4" name="Freeform 67">
            <a:extLst>
              <a:ext uri="{FF2B5EF4-FFF2-40B4-BE49-F238E27FC236}">
                <a16:creationId xmlns:a16="http://schemas.microsoft.com/office/drawing/2014/main" id="{810BF7EA-C99C-227F-1725-521A4697E099}"/>
              </a:ext>
            </a:extLst>
          </p:cNvPr>
          <p:cNvSpPr>
            <a:spLocks noChangeArrowheads="1"/>
          </p:cNvSpPr>
          <p:nvPr/>
        </p:nvSpPr>
        <p:spPr bwMode="auto">
          <a:xfrm>
            <a:off x="2021052" y="2345935"/>
            <a:ext cx="1117837" cy="966279"/>
          </a:xfrm>
          <a:custGeom>
            <a:avLst/>
            <a:gdLst>
              <a:gd name="T0" fmla="*/ 184457 w 2049"/>
              <a:gd name="T1" fmla="*/ 0 h 1773"/>
              <a:gd name="T2" fmla="*/ 553371 w 2049"/>
              <a:gd name="T3" fmla="*/ 0 h 1773"/>
              <a:gd name="T4" fmla="*/ 737828 w 2049"/>
              <a:gd name="T5" fmla="*/ 319267 h 1773"/>
              <a:gd name="T6" fmla="*/ 553371 w 2049"/>
              <a:gd name="T7" fmla="*/ 637815 h 1773"/>
              <a:gd name="T8" fmla="*/ 184457 w 2049"/>
              <a:gd name="T9" fmla="*/ 637815 h 1773"/>
              <a:gd name="T10" fmla="*/ 0 w 2049"/>
              <a:gd name="T11" fmla="*/ 319267 h 1773"/>
              <a:gd name="T12" fmla="*/ 184457 w 2049"/>
              <a:gd name="T13" fmla="*/ 0 h 177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49" h="1773">
                <a:moveTo>
                  <a:pt x="512" y="0"/>
                </a:moveTo>
                <a:lnTo>
                  <a:pt x="1536" y="0"/>
                </a:lnTo>
                <a:lnTo>
                  <a:pt x="2048" y="887"/>
                </a:lnTo>
                <a:lnTo>
                  <a:pt x="1536" y="1772"/>
                </a:lnTo>
                <a:lnTo>
                  <a:pt x="512" y="1772"/>
                </a:lnTo>
                <a:lnTo>
                  <a:pt x="0" y="887"/>
                </a:lnTo>
                <a:lnTo>
                  <a:pt x="512" y="0"/>
                </a:lnTo>
              </a:path>
            </a:pathLst>
          </a:custGeom>
          <a:solidFill>
            <a:schemeClr val="accent3"/>
          </a:solidFill>
          <a:ln>
            <a:noFill/>
          </a:ln>
          <a:effectLst/>
        </p:spPr>
        <p:txBody>
          <a:bodyPr wrap="none" anchor="ctr"/>
          <a:lstStyle/>
          <a:p>
            <a:endParaRPr lang="en-US" sz="6530" dirty="0">
              <a:latin typeface="DM Sans" pitchFamily="2" charset="77"/>
            </a:endParaRPr>
          </a:p>
        </p:txBody>
      </p:sp>
      <p:sp>
        <p:nvSpPr>
          <p:cNvPr id="6" name="Freeform 68">
            <a:extLst>
              <a:ext uri="{FF2B5EF4-FFF2-40B4-BE49-F238E27FC236}">
                <a16:creationId xmlns:a16="http://schemas.microsoft.com/office/drawing/2014/main" id="{C9E544F6-BEC5-BB0F-7817-55D9623A6503}"/>
              </a:ext>
            </a:extLst>
          </p:cNvPr>
          <p:cNvSpPr>
            <a:spLocks noChangeArrowheads="1"/>
          </p:cNvSpPr>
          <p:nvPr/>
        </p:nvSpPr>
        <p:spPr bwMode="auto">
          <a:xfrm>
            <a:off x="2888880" y="1843565"/>
            <a:ext cx="1117836" cy="968682"/>
          </a:xfrm>
          <a:custGeom>
            <a:avLst/>
            <a:gdLst>
              <a:gd name="T0" fmla="*/ 184457 w 2049"/>
              <a:gd name="T1" fmla="*/ 0 h 1775"/>
              <a:gd name="T2" fmla="*/ 553370 w 2049"/>
              <a:gd name="T3" fmla="*/ 0 h 1775"/>
              <a:gd name="T4" fmla="*/ 737827 w 2049"/>
              <a:gd name="T5" fmla="*/ 319701 h 1775"/>
              <a:gd name="T6" fmla="*/ 553370 w 2049"/>
              <a:gd name="T7" fmla="*/ 639402 h 1775"/>
              <a:gd name="T8" fmla="*/ 184457 w 2049"/>
              <a:gd name="T9" fmla="*/ 639402 h 1775"/>
              <a:gd name="T10" fmla="*/ 0 w 2049"/>
              <a:gd name="T11" fmla="*/ 319701 h 1775"/>
              <a:gd name="T12" fmla="*/ 184457 w 2049"/>
              <a:gd name="T13" fmla="*/ 0 h 177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49" h="1775">
                <a:moveTo>
                  <a:pt x="512" y="0"/>
                </a:moveTo>
                <a:lnTo>
                  <a:pt x="1536" y="0"/>
                </a:lnTo>
                <a:lnTo>
                  <a:pt x="2048" y="887"/>
                </a:lnTo>
                <a:lnTo>
                  <a:pt x="1536" y="1774"/>
                </a:lnTo>
                <a:lnTo>
                  <a:pt x="512" y="1774"/>
                </a:lnTo>
                <a:lnTo>
                  <a:pt x="0" y="887"/>
                </a:lnTo>
                <a:lnTo>
                  <a:pt x="512" y="0"/>
                </a:lnTo>
              </a:path>
            </a:pathLst>
          </a:custGeom>
          <a:solidFill>
            <a:schemeClr val="accent5"/>
          </a:solidFill>
          <a:ln>
            <a:noFill/>
          </a:ln>
          <a:effectLst/>
        </p:spPr>
        <p:txBody>
          <a:bodyPr wrap="none" anchor="ctr"/>
          <a:lstStyle/>
          <a:p>
            <a:endParaRPr lang="en-US" sz="6530" dirty="0">
              <a:latin typeface="DM Sans" pitchFamily="2" charset="77"/>
            </a:endParaRPr>
          </a:p>
        </p:txBody>
      </p:sp>
      <p:sp>
        <p:nvSpPr>
          <p:cNvPr id="7" name="Freeform 69">
            <a:extLst>
              <a:ext uri="{FF2B5EF4-FFF2-40B4-BE49-F238E27FC236}">
                <a16:creationId xmlns:a16="http://schemas.microsoft.com/office/drawing/2014/main" id="{D7B9F0FC-8D3E-6103-F1B3-8CF925F540E2}"/>
              </a:ext>
            </a:extLst>
          </p:cNvPr>
          <p:cNvSpPr>
            <a:spLocks noChangeArrowheads="1"/>
          </p:cNvSpPr>
          <p:nvPr/>
        </p:nvSpPr>
        <p:spPr bwMode="auto">
          <a:xfrm>
            <a:off x="1155630" y="1843565"/>
            <a:ext cx="1115433" cy="968682"/>
          </a:xfrm>
          <a:custGeom>
            <a:avLst/>
            <a:gdLst>
              <a:gd name="T0" fmla="*/ 184150 w 2048"/>
              <a:gd name="T1" fmla="*/ 0 h 1775"/>
              <a:gd name="T2" fmla="*/ 552090 w 2048"/>
              <a:gd name="T3" fmla="*/ 0 h 1775"/>
              <a:gd name="T4" fmla="*/ 736240 w 2048"/>
              <a:gd name="T5" fmla="*/ 319701 h 1775"/>
              <a:gd name="T6" fmla="*/ 552090 w 2048"/>
              <a:gd name="T7" fmla="*/ 639402 h 1775"/>
              <a:gd name="T8" fmla="*/ 184150 w 2048"/>
              <a:gd name="T9" fmla="*/ 639402 h 1775"/>
              <a:gd name="T10" fmla="*/ 0 w 2048"/>
              <a:gd name="T11" fmla="*/ 319701 h 1775"/>
              <a:gd name="T12" fmla="*/ 184150 w 2048"/>
              <a:gd name="T13" fmla="*/ 0 h 177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48" h="1775">
                <a:moveTo>
                  <a:pt x="512" y="0"/>
                </a:moveTo>
                <a:lnTo>
                  <a:pt x="1535" y="0"/>
                </a:lnTo>
                <a:lnTo>
                  <a:pt x="2047" y="887"/>
                </a:lnTo>
                <a:lnTo>
                  <a:pt x="1535" y="1774"/>
                </a:lnTo>
                <a:lnTo>
                  <a:pt x="512" y="1774"/>
                </a:lnTo>
                <a:lnTo>
                  <a:pt x="0" y="887"/>
                </a:lnTo>
                <a:lnTo>
                  <a:pt x="512" y="0"/>
                </a:lnTo>
              </a:path>
            </a:pathLst>
          </a:custGeom>
          <a:solidFill>
            <a:schemeClr val="accent2"/>
          </a:solidFill>
          <a:ln>
            <a:noFill/>
          </a:ln>
          <a:effectLst/>
        </p:spPr>
        <p:txBody>
          <a:bodyPr wrap="none" anchor="ctr"/>
          <a:lstStyle/>
          <a:p>
            <a:endParaRPr lang="en-US" sz="6530" dirty="0">
              <a:latin typeface="DM Sans" pitchFamily="2" charset="77"/>
            </a:endParaRPr>
          </a:p>
        </p:txBody>
      </p:sp>
      <p:sp>
        <p:nvSpPr>
          <p:cNvPr id="8" name="Freeform 70">
            <a:extLst>
              <a:ext uri="{FF2B5EF4-FFF2-40B4-BE49-F238E27FC236}">
                <a16:creationId xmlns:a16="http://schemas.microsoft.com/office/drawing/2014/main" id="{BEE4016F-E220-AD59-E2E8-8CCCEBFDAF68}"/>
              </a:ext>
            </a:extLst>
          </p:cNvPr>
          <p:cNvSpPr>
            <a:spLocks noChangeArrowheads="1"/>
          </p:cNvSpPr>
          <p:nvPr/>
        </p:nvSpPr>
        <p:spPr bwMode="auto">
          <a:xfrm>
            <a:off x="1155630" y="2845900"/>
            <a:ext cx="1115433" cy="966279"/>
          </a:xfrm>
          <a:custGeom>
            <a:avLst/>
            <a:gdLst>
              <a:gd name="T0" fmla="*/ 184150 w 2048"/>
              <a:gd name="T1" fmla="*/ 0 h 1774"/>
              <a:gd name="T2" fmla="*/ 552090 w 2048"/>
              <a:gd name="T3" fmla="*/ 0 h 1774"/>
              <a:gd name="T4" fmla="*/ 736240 w 2048"/>
              <a:gd name="T5" fmla="*/ 318728 h 1774"/>
              <a:gd name="T6" fmla="*/ 552090 w 2048"/>
              <a:gd name="T7" fmla="*/ 637815 h 1774"/>
              <a:gd name="T8" fmla="*/ 184150 w 2048"/>
              <a:gd name="T9" fmla="*/ 637815 h 1774"/>
              <a:gd name="T10" fmla="*/ 0 w 2048"/>
              <a:gd name="T11" fmla="*/ 318728 h 1774"/>
              <a:gd name="T12" fmla="*/ 184150 w 2048"/>
              <a:gd name="T13" fmla="*/ 0 h 177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48" h="1774">
                <a:moveTo>
                  <a:pt x="512" y="0"/>
                </a:moveTo>
                <a:lnTo>
                  <a:pt x="1535" y="0"/>
                </a:lnTo>
                <a:lnTo>
                  <a:pt x="2047" y="886"/>
                </a:lnTo>
                <a:lnTo>
                  <a:pt x="1535" y="1773"/>
                </a:lnTo>
                <a:lnTo>
                  <a:pt x="512" y="1773"/>
                </a:lnTo>
                <a:lnTo>
                  <a:pt x="0" y="886"/>
                </a:lnTo>
                <a:lnTo>
                  <a:pt x="512" y="0"/>
                </a:lnTo>
              </a:path>
            </a:pathLst>
          </a:custGeom>
          <a:solidFill>
            <a:schemeClr val="accent1"/>
          </a:solidFill>
          <a:ln>
            <a:noFill/>
          </a:ln>
          <a:effectLst/>
        </p:spPr>
        <p:txBody>
          <a:bodyPr wrap="none" anchor="ctr"/>
          <a:lstStyle/>
          <a:p>
            <a:endParaRPr lang="en-US" sz="6530" dirty="0">
              <a:latin typeface="DM Sans" pitchFamily="2" charset="77"/>
            </a:endParaRPr>
          </a:p>
        </p:txBody>
      </p:sp>
      <p:sp>
        <p:nvSpPr>
          <p:cNvPr id="10" name="Freeform 71">
            <a:extLst>
              <a:ext uri="{FF2B5EF4-FFF2-40B4-BE49-F238E27FC236}">
                <a16:creationId xmlns:a16="http://schemas.microsoft.com/office/drawing/2014/main" id="{AFF02F61-AB0F-CC74-5914-AC50B556970D}"/>
              </a:ext>
            </a:extLst>
          </p:cNvPr>
          <p:cNvSpPr>
            <a:spLocks noChangeArrowheads="1"/>
          </p:cNvSpPr>
          <p:nvPr/>
        </p:nvSpPr>
        <p:spPr bwMode="auto">
          <a:xfrm>
            <a:off x="5694329" y="1297180"/>
            <a:ext cx="745224" cy="646590"/>
          </a:xfrm>
          <a:custGeom>
            <a:avLst/>
            <a:gdLst>
              <a:gd name="T0" fmla="*/ 129147 w 1368"/>
              <a:gd name="T1" fmla="*/ 415867 h 1185"/>
              <a:gd name="T2" fmla="*/ 362618 w 1368"/>
              <a:gd name="T3" fmla="*/ 415867 h 1185"/>
              <a:gd name="T4" fmla="*/ 479174 w 1368"/>
              <a:gd name="T5" fmla="*/ 213339 h 1185"/>
              <a:gd name="T6" fmla="*/ 362618 w 1368"/>
              <a:gd name="T7" fmla="*/ 11171 h 1185"/>
              <a:gd name="T8" fmla="*/ 129147 w 1368"/>
              <a:gd name="T9" fmla="*/ 11171 h 1185"/>
              <a:gd name="T10" fmla="*/ 12591 w 1368"/>
              <a:gd name="T11" fmla="*/ 213339 h 1185"/>
              <a:gd name="T12" fmla="*/ 129147 w 1368"/>
              <a:gd name="T13" fmla="*/ 415867 h 1185"/>
              <a:gd name="T14" fmla="*/ 368734 w 1368"/>
              <a:gd name="T15" fmla="*/ 426678 h 1185"/>
              <a:gd name="T16" fmla="*/ 122672 w 1368"/>
              <a:gd name="T17" fmla="*/ 426678 h 1185"/>
              <a:gd name="T18" fmla="*/ 0 w 1368"/>
              <a:gd name="T19" fmla="*/ 213339 h 1185"/>
              <a:gd name="T20" fmla="*/ 122672 w 1368"/>
              <a:gd name="T21" fmla="*/ 0 h 1185"/>
              <a:gd name="T22" fmla="*/ 368734 w 1368"/>
              <a:gd name="T23" fmla="*/ 0 h 1185"/>
              <a:gd name="T24" fmla="*/ 491765 w 1368"/>
              <a:gd name="T25" fmla="*/ 213339 h 1185"/>
              <a:gd name="T26" fmla="*/ 368734 w 1368"/>
              <a:gd name="T27" fmla="*/ 426678 h 11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68" h="1185">
                <a:moveTo>
                  <a:pt x="359" y="1154"/>
                </a:moveTo>
                <a:lnTo>
                  <a:pt x="1008" y="1154"/>
                </a:lnTo>
                <a:lnTo>
                  <a:pt x="1332" y="592"/>
                </a:lnTo>
                <a:lnTo>
                  <a:pt x="1008" y="31"/>
                </a:lnTo>
                <a:lnTo>
                  <a:pt x="359" y="31"/>
                </a:lnTo>
                <a:lnTo>
                  <a:pt x="35" y="592"/>
                </a:lnTo>
                <a:lnTo>
                  <a:pt x="359" y="1154"/>
                </a:lnTo>
                <a:close/>
                <a:moveTo>
                  <a:pt x="1025" y="1184"/>
                </a:moveTo>
                <a:lnTo>
                  <a:pt x="341" y="1184"/>
                </a:lnTo>
                <a:lnTo>
                  <a:pt x="0" y="592"/>
                </a:lnTo>
                <a:lnTo>
                  <a:pt x="341" y="0"/>
                </a:lnTo>
                <a:lnTo>
                  <a:pt x="1025" y="0"/>
                </a:lnTo>
                <a:lnTo>
                  <a:pt x="1367" y="592"/>
                </a:lnTo>
                <a:lnTo>
                  <a:pt x="1025" y="1184"/>
                </a:lnTo>
                <a:close/>
              </a:path>
            </a:pathLst>
          </a:custGeom>
          <a:solidFill>
            <a:schemeClr val="accent1"/>
          </a:solidFill>
          <a:ln>
            <a:noFill/>
          </a:ln>
          <a:effectLst/>
        </p:spPr>
        <p:txBody>
          <a:bodyPr wrap="none" anchor="ctr"/>
          <a:lstStyle/>
          <a:p>
            <a:endParaRPr lang="en-US" sz="4400" dirty="0"/>
          </a:p>
        </p:txBody>
      </p:sp>
      <p:sp>
        <p:nvSpPr>
          <p:cNvPr id="11" name="Freeform 72">
            <a:extLst>
              <a:ext uri="{FF2B5EF4-FFF2-40B4-BE49-F238E27FC236}">
                <a16:creationId xmlns:a16="http://schemas.microsoft.com/office/drawing/2014/main" id="{CA099EB4-F45A-5520-5A36-5062CF8234AE}"/>
              </a:ext>
            </a:extLst>
          </p:cNvPr>
          <p:cNvSpPr>
            <a:spLocks noChangeArrowheads="1"/>
          </p:cNvSpPr>
          <p:nvPr/>
        </p:nvSpPr>
        <p:spPr bwMode="auto">
          <a:xfrm>
            <a:off x="5694329" y="2164910"/>
            <a:ext cx="745224" cy="646589"/>
          </a:xfrm>
          <a:custGeom>
            <a:avLst/>
            <a:gdLst>
              <a:gd name="T0" fmla="*/ 129147 w 1368"/>
              <a:gd name="T1" fmla="*/ 415505 h 1185"/>
              <a:gd name="T2" fmla="*/ 362618 w 1368"/>
              <a:gd name="T3" fmla="*/ 415505 h 1185"/>
              <a:gd name="T4" fmla="*/ 479174 w 1368"/>
              <a:gd name="T5" fmla="*/ 213338 h 1185"/>
              <a:gd name="T6" fmla="*/ 362618 w 1368"/>
              <a:gd name="T7" fmla="*/ 10811 h 1185"/>
              <a:gd name="T8" fmla="*/ 129147 w 1368"/>
              <a:gd name="T9" fmla="*/ 10811 h 1185"/>
              <a:gd name="T10" fmla="*/ 12591 w 1368"/>
              <a:gd name="T11" fmla="*/ 213338 h 1185"/>
              <a:gd name="T12" fmla="*/ 129147 w 1368"/>
              <a:gd name="T13" fmla="*/ 415505 h 1185"/>
              <a:gd name="T14" fmla="*/ 368734 w 1368"/>
              <a:gd name="T15" fmla="*/ 426677 h 1185"/>
              <a:gd name="T16" fmla="*/ 122672 w 1368"/>
              <a:gd name="T17" fmla="*/ 426677 h 1185"/>
              <a:gd name="T18" fmla="*/ 0 w 1368"/>
              <a:gd name="T19" fmla="*/ 213338 h 1185"/>
              <a:gd name="T20" fmla="*/ 122672 w 1368"/>
              <a:gd name="T21" fmla="*/ 0 h 1185"/>
              <a:gd name="T22" fmla="*/ 368734 w 1368"/>
              <a:gd name="T23" fmla="*/ 0 h 1185"/>
              <a:gd name="T24" fmla="*/ 491765 w 1368"/>
              <a:gd name="T25" fmla="*/ 213338 h 1185"/>
              <a:gd name="T26" fmla="*/ 368734 w 1368"/>
              <a:gd name="T27" fmla="*/ 426677 h 11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68" h="1185">
                <a:moveTo>
                  <a:pt x="359" y="1153"/>
                </a:moveTo>
                <a:lnTo>
                  <a:pt x="1008" y="1153"/>
                </a:lnTo>
                <a:lnTo>
                  <a:pt x="1332" y="592"/>
                </a:lnTo>
                <a:lnTo>
                  <a:pt x="1008" y="30"/>
                </a:lnTo>
                <a:lnTo>
                  <a:pt x="359" y="30"/>
                </a:lnTo>
                <a:lnTo>
                  <a:pt x="35" y="592"/>
                </a:lnTo>
                <a:lnTo>
                  <a:pt x="359" y="1153"/>
                </a:lnTo>
                <a:close/>
                <a:moveTo>
                  <a:pt x="1025" y="1184"/>
                </a:moveTo>
                <a:lnTo>
                  <a:pt x="341" y="1184"/>
                </a:lnTo>
                <a:lnTo>
                  <a:pt x="0" y="592"/>
                </a:lnTo>
                <a:lnTo>
                  <a:pt x="341" y="0"/>
                </a:lnTo>
                <a:lnTo>
                  <a:pt x="1025" y="0"/>
                </a:lnTo>
                <a:lnTo>
                  <a:pt x="1367" y="592"/>
                </a:lnTo>
                <a:lnTo>
                  <a:pt x="1025" y="1184"/>
                </a:lnTo>
                <a:close/>
              </a:path>
            </a:pathLst>
          </a:custGeom>
          <a:solidFill>
            <a:schemeClr val="accent2"/>
          </a:solidFill>
          <a:ln>
            <a:noFill/>
          </a:ln>
          <a:effectLst/>
        </p:spPr>
        <p:txBody>
          <a:bodyPr wrap="none" anchor="ctr"/>
          <a:lstStyle/>
          <a:p>
            <a:endParaRPr lang="en-US" sz="4400" dirty="0"/>
          </a:p>
        </p:txBody>
      </p:sp>
      <p:sp>
        <p:nvSpPr>
          <p:cNvPr id="12" name="Freeform 73">
            <a:extLst>
              <a:ext uri="{FF2B5EF4-FFF2-40B4-BE49-F238E27FC236}">
                <a16:creationId xmlns:a16="http://schemas.microsoft.com/office/drawing/2014/main" id="{BFDF3E02-548F-2C62-9320-F04482387FA1}"/>
              </a:ext>
            </a:extLst>
          </p:cNvPr>
          <p:cNvSpPr>
            <a:spLocks noChangeArrowheads="1"/>
          </p:cNvSpPr>
          <p:nvPr/>
        </p:nvSpPr>
        <p:spPr bwMode="auto">
          <a:xfrm>
            <a:off x="5694329" y="3042251"/>
            <a:ext cx="745224" cy="646590"/>
          </a:xfrm>
          <a:custGeom>
            <a:avLst/>
            <a:gdLst>
              <a:gd name="T0" fmla="*/ 129147 w 1368"/>
              <a:gd name="T1" fmla="*/ 415506 h 1185"/>
              <a:gd name="T2" fmla="*/ 362618 w 1368"/>
              <a:gd name="T3" fmla="*/ 415506 h 1185"/>
              <a:gd name="T4" fmla="*/ 479174 w 1368"/>
              <a:gd name="T5" fmla="*/ 213339 h 1185"/>
              <a:gd name="T6" fmla="*/ 362618 w 1368"/>
              <a:gd name="T7" fmla="*/ 10811 h 1185"/>
              <a:gd name="T8" fmla="*/ 129147 w 1368"/>
              <a:gd name="T9" fmla="*/ 10811 h 1185"/>
              <a:gd name="T10" fmla="*/ 12591 w 1368"/>
              <a:gd name="T11" fmla="*/ 213339 h 1185"/>
              <a:gd name="T12" fmla="*/ 129147 w 1368"/>
              <a:gd name="T13" fmla="*/ 415506 h 1185"/>
              <a:gd name="T14" fmla="*/ 368734 w 1368"/>
              <a:gd name="T15" fmla="*/ 426678 h 1185"/>
              <a:gd name="T16" fmla="*/ 122672 w 1368"/>
              <a:gd name="T17" fmla="*/ 426678 h 1185"/>
              <a:gd name="T18" fmla="*/ 0 w 1368"/>
              <a:gd name="T19" fmla="*/ 213339 h 1185"/>
              <a:gd name="T20" fmla="*/ 122672 w 1368"/>
              <a:gd name="T21" fmla="*/ 0 h 1185"/>
              <a:gd name="T22" fmla="*/ 368734 w 1368"/>
              <a:gd name="T23" fmla="*/ 0 h 1185"/>
              <a:gd name="T24" fmla="*/ 491765 w 1368"/>
              <a:gd name="T25" fmla="*/ 213339 h 1185"/>
              <a:gd name="T26" fmla="*/ 368734 w 1368"/>
              <a:gd name="T27" fmla="*/ 426678 h 11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68" h="1185">
                <a:moveTo>
                  <a:pt x="359" y="1153"/>
                </a:moveTo>
                <a:lnTo>
                  <a:pt x="1008" y="1153"/>
                </a:lnTo>
                <a:lnTo>
                  <a:pt x="1332" y="592"/>
                </a:lnTo>
                <a:lnTo>
                  <a:pt x="1008" y="30"/>
                </a:lnTo>
                <a:lnTo>
                  <a:pt x="359" y="30"/>
                </a:lnTo>
                <a:lnTo>
                  <a:pt x="35" y="592"/>
                </a:lnTo>
                <a:lnTo>
                  <a:pt x="359" y="1153"/>
                </a:lnTo>
                <a:close/>
                <a:moveTo>
                  <a:pt x="1025" y="1184"/>
                </a:moveTo>
                <a:lnTo>
                  <a:pt x="341" y="1184"/>
                </a:lnTo>
                <a:lnTo>
                  <a:pt x="0" y="592"/>
                </a:lnTo>
                <a:lnTo>
                  <a:pt x="341" y="0"/>
                </a:lnTo>
                <a:lnTo>
                  <a:pt x="1025" y="0"/>
                </a:lnTo>
                <a:lnTo>
                  <a:pt x="1367" y="592"/>
                </a:lnTo>
                <a:lnTo>
                  <a:pt x="1025" y="1184"/>
                </a:lnTo>
                <a:close/>
              </a:path>
            </a:pathLst>
          </a:custGeom>
          <a:solidFill>
            <a:schemeClr val="accent3"/>
          </a:solidFill>
          <a:ln>
            <a:noFill/>
          </a:ln>
          <a:effectLst/>
        </p:spPr>
        <p:txBody>
          <a:bodyPr wrap="none" anchor="ctr"/>
          <a:lstStyle/>
          <a:p>
            <a:endParaRPr lang="en-US" sz="4400" dirty="0"/>
          </a:p>
        </p:txBody>
      </p:sp>
      <p:sp>
        <p:nvSpPr>
          <p:cNvPr id="13" name="Freeform 74">
            <a:extLst>
              <a:ext uri="{FF2B5EF4-FFF2-40B4-BE49-F238E27FC236}">
                <a16:creationId xmlns:a16="http://schemas.microsoft.com/office/drawing/2014/main" id="{ADA0CFEC-D715-20DB-F1A7-5C59E81A226E}"/>
              </a:ext>
            </a:extLst>
          </p:cNvPr>
          <p:cNvSpPr>
            <a:spLocks noChangeArrowheads="1"/>
          </p:cNvSpPr>
          <p:nvPr/>
        </p:nvSpPr>
        <p:spPr bwMode="auto">
          <a:xfrm>
            <a:off x="5694329" y="3919595"/>
            <a:ext cx="745224" cy="646589"/>
          </a:xfrm>
          <a:custGeom>
            <a:avLst/>
            <a:gdLst>
              <a:gd name="T0" fmla="*/ 129147 w 1368"/>
              <a:gd name="T1" fmla="*/ 415505 h 1185"/>
              <a:gd name="T2" fmla="*/ 362618 w 1368"/>
              <a:gd name="T3" fmla="*/ 415505 h 1185"/>
              <a:gd name="T4" fmla="*/ 479174 w 1368"/>
              <a:gd name="T5" fmla="*/ 213338 h 1185"/>
              <a:gd name="T6" fmla="*/ 362618 w 1368"/>
              <a:gd name="T7" fmla="*/ 10811 h 1185"/>
              <a:gd name="T8" fmla="*/ 129147 w 1368"/>
              <a:gd name="T9" fmla="*/ 10811 h 1185"/>
              <a:gd name="T10" fmla="*/ 12591 w 1368"/>
              <a:gd name="T11" fmla="*/ 213338 h 1185"/>
              <a:gd name="T12" fmla="*/ 129147 w 1368"/>
              <a:gd name="T13" fmla="*/ 415505 h 1185"/>
              <a:gd name="T14" fmla="*/ 368734 w 1368"/>
              <a:gd name="T15" fmla="*/ 426677 h 1185"/>
              <a:gd name="T16" fmla="*/ 122672 w 1368"/>
              <a:gd name="T17" fmla="*/ 426677 h 1185"/>
              <a:gd name="T18" fmla="*/ 0 w 1368"/>
              <a:gd name="T19" fmla="*/ 213338 h 1185"/>
              <a:gd name="T20" fmla="*/ 122672 w 1368"/>
              <a:gd name="T21" fmla="*/ 0 h 1185"/>
              <a:gd name="T22" fmla="*/ 368734 w 1368"/>
              <a:gd name="T23" fmla="*/ 0 h 1185"/>
              <a:gd name="T24" fmla="*/ 491765 w 1368"/>
              <a:gd name="T25" fmla="*/ 213338 h 1185"/>
              <a:gd name="T26" fmla="*/ 368734 w 1368"/>
              <a:gd name="T27" fmla="*/ 426677 h 11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68" h="1185">
                <a:moveTo>
                  <a:pt x="359" y="1153"/>
                </a:moveTo>
                <a:lnTo>
                  <a:pt x="1008" y="1153"/>
                </a:lnTo>
                <a:lnTo>
                  <a:pt x="1332" y="592"/>
                </a:lnTo>
                <a:lnTo>
                  <a:pt x="1008" y="30"/>
                </a:lnTo>
                <a:lnTo>
                  <a:pt x="359" y="30"/>
                </a:lnTo>
                <a:lnTo>
                  <a:pt x="35" y="592"/>
                </a:lnTo>
                <a:lnTo>
                  <a:pt x="359" y="1153"/>
                </a:lnTo>
                <a:close/>
                <a:moveTo>
                  <a:pt x="1025" y="1184"/>
                </a:moveTo>
                <a:lnTo>
                  <a:pt x="341" y="1184"/>
                </a:lnTo>
                <a:lnTo>
                  <a:pt x="0" y="592"/>
                </a:lnTo>
                <a:lnTo>
                  <a:pt x="341" y="0"/>
                </a:lnTo>
                <a:lnTo>
                  <a:pt x="1025" y="0"/>
                </a:lnTo>
                <a:lnTo>
                  <a:pt x="1367" y="592"/>
                </a:lnTo>
                <a:lnTo>
                  <a:pt x="1025" y="1184"/>
                </a:lnTo>
                <a:close/>
              </a:path>
            </a:pathLst>
          </a:custGeom>
          <a:solidFill>
            <a:schemeClr val="accent4"/>
          </a:solidFill>
          <a:ln>
            <a:noFill/>
          </a:ln>
          <a:effectLst/>
        </p:spPr>
        <p:txBody>
          <a:bodyPr wrap="none" anchor="ctr"/>
          <a:lstStyle/>
          <a:p>
            <a:endParaRPr lang="en-US" sz="4400" dirty="0"/>
          </a:p>
        </p:txBody>
      </p:sp>
      <p:sp>
        <p:nvSpPr>
          <p:cNvPr id="14" name="Freeform 75">
            <a:extLst>
              <a:ext uri="{FF2B5EF4-FFF2-40B4-BE49-F238E27FC236}">
                <a16:creationId xmlns:a16="http://schemas.microsoft.com/office/drawing/2014/main" id="{9346FBF1-22CD-9E06-820B-8203D555AD17}"/>
              </a:ext>
            </a:extLst>
          </p:cNvPr>
          <p:cNvSpPr>
            <a:spLocks noChangeArrowheads="1"/>
          </p:cNvSpPr>
          <p:nvPr/>
        </p:nvSpPr>
        <p:spPr bwMode="auto">
          <a:xfrm>
            <a:off x="5694329" y="4759625"/>
            <a:ext cx="745224" cy="646590"/>
          </a:xfrm>
          <a:custGeom>
            <a:avLst/>
            <a:gdLst>
              <a:gd name="T0" fmla="*/ 129147 w 1368"/>
              <a:gd name="T1" fmla="*/ 415506 h 1185"/>
              <a:gd name="T2" fmla="*/ 362618 w 1368"/>
              <a:gd name="T3" fmla="*/ 415506 h 1185"/>
              <a:gd name="T4" fmla="*/ 479174 w 1368"/>
              <a:gd name="T5" fmla="*/ 213339 h 1185"/>
              <a:gd name="T6" fmla="*/ 362618 w 1368"/>
              <a:gd name="T7" fmla="*/ 11171 h 1185"/>
              <a:gd name="T8" fmla="*/ 129147 w 1368"/>
              <a:gd name="T9" fmla="*/ 11171 h 1185"/>
              <a:gd name="T10" fmla="*/ 12591 w 1368"/>
              <a:gd name="T11" fmla="*/ 213339 h 1185"/>
              <a:gd name="T12" fmla="*/ 129147 w 1368"/>
              <a:gd name="T13" fmla="*/ 415506 h 1185"/>
              <a:gd name="T14" fmla="*/ 368734 w 1368"/>
              <a:gd name="T15" fmla="*/ 426678 h 1185"/>
              <a:gd name="T16" fmla="*/ 122672 w 1368"/>
              <a:gd name="T17" fmla="*/ 426678 h 1185"/>
              <a:gd name="T18" fmla="*/ 0 w 1368"/>
              <a:gd name="T19" fmla="*/ 213339 h 1185"/>
              <a:gd name="T20" fmla="*/ 122672 w 1368"/>
              <a:gd name="T21" fmla="*/ 0 h 1185"/>
              <a:gd name="T22" fmla="*/ 368734 w 1368"/>
              <a:gd name="T23" fmla="*/ 0 h 1185"/>
              <a:gd name="T24" fmla="*/ 491765 w 1368"/>
              <a:gd name="T25" fmla="*/ 213339 h 1185"/>
              <a:gd name="T26" fmla="*/ 368734 w 1368"/>
              <a:gd name="T27" fmla="*/ 426678 h 11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68" h="1185">
                <a:moveTo>
                  <a:pt x="359" y="1153"/>
                </a:moveTo>
                <a:lnTo>
                  <a:pt x="1008" y="1153"/>
                </a:lnTo>
                <a:lnTo>
                  <a:pt x="1332" y="592"/>
                </a:lnTo>
                <a:lnTo>
                  <a:pt x="1008" y="31"/>
                </a:lnTo>
                <a:lnTo>
                  <a:pt x="359" y="31"/>
                </a:lnTo>
                <a:lnTo>
                  <a:pt x="35" y="592"/>
                </a:lnTo>
                <a:lnTo>
                  <a:pt x="359" y="1153"/>
                </a:lnTo>
                <a:close/>
                <a:moveTo>
                  <a:pt x="1025" y="1184"/>
                </a:moveTo>
                <a:lnTo>
                  <a:pt x="341" y="1184"/>
                </a:lnTo>
                <a:lnTo>
                  <a:pt x="0" y="592"/>
                </a:lnTo>
                <a:lnTo>
                  <a:pt x="341" y="0"/>
                </a:lnTo>
                <a:lnTo>
                  <a:pt x="1025" y="0"/>
                </a:lnTo>
                <a:lnTo>
                  <a:pt x="1367" y="592"/>
                </a:lnTo>
                <a:lnTo>
                  <a:pt x="1025" y="1184"/>
                </a:lnTo>
                <a:close/>
              </a:path>
            </a:pathLst>
          </a:custGeom>
          <a:solidFill>
            <a:schemeClr val="accent5"/>
          </a:solidFill>
          <a:ln>
            <a:noFill/>
          </a:ln>
          <a:effectLst/>
        </p:spPr>
        <p:txBody>
          <a:bodyPr wrap="none" anchor="ctr"/>
          <a:lstStyle/>
          <a:p>
            <a:endParaRPr lang="en-US" sz="4400" dirty="0"/>
          </a:p>
        </p:txBody>
      </p:sp>
      <p:sp>
        <p:nvSpPr>
          <p:cNvPr id="15" name="Freeform 76">
            <a:extLst>
              <a:ext uri="{FF2B5EF4-FFF2-40B4-BE49-F238E27FC236}">
                <a16:creationId xmlns:a16="http://schemas.microsoft.com/office/drawing/2014/main" id="{814B4104-B099-B4D5-9D1A-4DE7691CD2EE}"/>
              </a:ext>
            </a:extLst>
          </p:cNvPr>
          <p:cNvSpPr>
            <a:spLocks noChangeArrowheads="1"/>
          </p:cNvSpPr>
          <p:nvPr/>
        </p:nvSpPr>
        <p:spPr bwMode="auto">
          <a:xfrm>
            <a:off x="1583533" y="2105565"/>
            <a:ext cx="3262160" cy="3470912"/>
          </a:xfrm>
          <a:custGeom>
            <a:avLst/>
            <a:gdLst>
              <a:gd name="T0" fmla="*/ 2141638 w 5984"/>
              <a:gd name="T1" fmla="*/ 1068779 h 6368"/>
              <a:gd name="T2" fmla="*/ 2137318 w 5984"/>
              <a:gd name="T3" fmla="*/ 1056180 h 6368"/>
              <a:gd name="T4" fmla="*/ 2090518 w 5984"/>
              <a:gd name="T5" fmla="*/ 965105 h 6368"/>
              <a:gd name="T6" fmla="*/ 1892158 w 5984"/>
              <a:gd name="T7" fmla="*/ 707000 h 6368"/>
              <a:gd name="T8" fmla="*/ 1856158 w 5984"/>
              <a:gd name="T9" fmla="*/ 644003 h 6368"/>
              <a:gd name="T10" fmla="*/ 1850038 w 5984"/>
              <a:gd name="T11" fmla="*/ 593966 h 6368"/>
              <a:gd name="T12" fmla="*/ 1819798 w 5984"/>
              <a:gd name="T13" fmla="*/ 386978 h 6368"/>
              <a:gd name="T14" fmla="*/ 1754998 w 5984"/>
              <a:gd name="T15" fmla="*/ 232187 h 6368"/>
              <a:gd name="T16" fmla="*/ 1624318 w 5984"/>
              <a:gd name="T17" fmla="*/ 146152 h 6368"/>
              <a:gd name="T18" fmla="*/ 1045439 w 5984"/>
              <a:gd name="T19" fmla="*/ 487412 h 6368"/>
              <a:gd name="T20" fmla="*/ 473040 w 5984"/>
              <a:gd name="T21" fmla="*/ 818234 h 6368"/>
              <a:gd name="T22" fmla="*/ 0 w 5984"/>
              <a:gd name="T23" fmla="*/ 1149055 h 6368"/>
              <a:gd name="T24" fmla="*/ 146520 w 5984"/>
              <a:gd name="T25" fmla="*/ 1379082 h 6368"/>
              <a:gd name="T26" fmla="*/ 195840 w 5984"/>
              <a:gd name="T27" fmla="*/ 1467997 h 6368"/>
              <a:gd name="T28" fmla="*/ 234720 w 5984"/>
              <a:gd name="T29" fmla="*/ 1681465 h 6368"/>
              <a:gd name="T30" fmla="*/ 217800 w 5984"/>
              <a:gd name="T31" fmla="*/ 1880173 h 6368"/>
              <a:gd name="T32" fmla="*/ 175680 w 5984"/>
              <a:gd name="T33" fmla="*/ 2143318 h 6368"/>
              <a:gd name="T34" fmla="*/ 147240 w 5984"/>
              <a:gd name="T35" fmla="*/ 2291990 h 6368"/>
              <a:gd name="T36" fmla="*/ 1356839 w 5984"/>
              <a:gd name="T37" fmla="*/ 2291990 h 6368"/>
              <a:gd name="T38" fmla="*/ 1365479 w 5984"/>
              <a:gd name="T39" fmla="*/ 2251312 h 6368"/>
              <a:gd name="T40" fmla="*/ 1409039 w 5984"/>
              <a:gd name="T41" fmla="*/ 2054403 h 6368"/>
              <a:gd name="T42" fmla="*/ 1513079 w 5984"/>
              <a:gd name="T43" fmla="*/ 1978808 h 6368"/>
              <a:gd name="T44" fmla="*/ 1689478 w 5984"/>
              <a:gd name="T45" fmla="*/ 1981688 h 6368"/>
              <a:gd name="T46" fmla="*/ 1853638 w 5984"/>
              <a:gd name="T47" fmla="*/ 1968368 h 6368"/>
              <a:gd name="T48" fmla="*/ 1970998 w 5984"/>
              <a:gd name="T49" fmla="*/ 1880173 h 6368"/>
              <a:gd name="T50" fmla="*/ 1971358 w 5984"/>
              <a:gd name="T51" fmla="*/ 1753821 h 6368"/>
              <a:gd name="T52" fmla="*/ 1951198 w 5984"/>
              <a:gd name="T53" fmla="*/ 1686864 h 6368"/>
              <a:gd name="T54" fmla="*/ 1985038 w 5984"/>
              <a:gd name="T55" fmla="*/ 1547192 h 6368"/>
              <a:gd name="T56" fmla="*/ 1993318 w 5984"/>
              <a:gd name="T57" fmla="*/ 1480956 h 6368"/>
              <a:gd name="T58" fmla="*/ 1984318 w 5984"/>
              <a:gd name="T59" fmla="*/ 1467997 h 6368"/>
              <a:gd name="T60" fmla="*/ 1964158 w 5984"/>
              <a:gd name="T61" fmla="*/ 1442798 h 6368"/>
              <a:gd name="T62" fmla="*/ 1997278 w 5984"/>
              <a:gd name="T63" fmla="*/ 1321485 h 6368"/>
              <a:gd name="T64" fmla="*/ 1973878 w 5984"/>
              <a:gd name="T65" fmla="*/ 1277208 h 6368"/>
              <a:gd name="T66" fmla="*/ 2016718 w 5984"/>
              <a:gd name="T67" fmla="*/ 1187573 h 6368"/>
              <a:gd name="T68" fmla="*/ 2105998 w 5984"/>
              <a:gd name="T69" fmla="*/ 1151935 h 63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984" h="6368">
                <a:moveTo>
                  <a:pt x="5949" y="2969"/>
                </a:moveTo>
                <a:lnTo>
                  <a:pt x="5949" y="2969"/>
                </a:lnTo>
                <a:cubicBezTo>
                  <a:pt x="5946" y="2957"/>
                  <a:pt x="5941" y="2945"/>
                  <a:pt x="5937" y="2934"/>
                </a:cubicBezTo>
                <a:cubicBezTo>
                  <a:pt x="5905" y="2844"/>
                  <a:pt x="5862" y="2756"/>
                  <a:pt x="5807" y="2681"/>
                </a:cubicBezTo>
                <a:cubicBezTo>
                  <a:pt x="5629" y="2437"/>
                  <a:pt x="5440" y="2203"/>
                  <a:pt x="5256" y="1964"/>
                </a:cubicBezTo>
                <a:cubicBezTo>
                  <a:pt x="5214" y="1909"/>
                  <a:pt x="5177" y="1852"/>
                  <a:pt x="5156" y="1789"/>
                </a:cubicBezTo>
                <a:cubicBezTo>
                  <a:pt x="5141" y="1746"/>
                  <a:pt x="5135" y="1700"/>
                  <a:pt x="5139" y="1650"/>
                </a:cubicBezTo>
                <a:cubicBezTo>
                  <a:pt x="5155" y="1453"/>
                  <a:pt x="5112" y="1264"/>
                  <a:pt x="5055" y="1075"/>
                </a:cubicBezTo>
                <a:cubicBezTo>
                  <a:pt x="5009" y="920"/>
                  <a:pt x="4949" y="777"/>
                  <a:pt x="4875" y="645"/>
                </a:cubicBezTo>
                <a:cubicBezTo>
                  <a:pt x="4729" y="386"/>
                  <a:pt x="4530" y="172"/>
                  <a:pt x="4278" y="0"/>
                </a:cubicBezTo>
                <a:lnTo>
                  <a:pt x="4512" y="406"/>
                </a:lnTo>
                <a:lnTo>
                  <a:pt x="3965" y="1354"/>
                </a:lnTo>
                <a:lnTo>
                  <a:pt x="2904" y="1354"/>
                </a:lnTo>
                <a:lnTo>
                  <a:pt x="2373" y="2273"/>
                </a:lnTo>
                <a:lnTo>
                  <a:pt x="1314" y="2273"/>
                </a:lnTo>
                <a:lnTo>
                  <a:pt x="783" y="3192"/>
                </a:lnTo>
                <a:lnTo>
                  <a:pt x="0" y="3192"/>
                </a:lnTo>
                <a:cubicBezTo>
                  <a:pt x="122" y="3412"/>
                  <a:pt x="265" y="3622"/>
                  <a:pt x="407" y="3831"/>
                </a:cubicBezTo>
                <a:cubicBezTo>
                  <a:pt x="462" y="3911"/>
                  <a:pt x="508" y="3993"/>
                  <a:pt x="544" y="4078"/>
                </a:cubicBezTo>
                <a:cubicBezTo>
                  <a:pt x="624" y="4263"/>
                  <a:pt x="661" y="4459"/>
                  <a:pt x="652" y="4671"/>
                </a:cubicBezTo>
                <a:cubicBezTo>
                  <a:pt x="644" y="4856"/>
                  <a:pt x="627" y="5039"/>
                  <a:pt x="605" y="5223"/>
                </a:cubicBezTo>
                <a:cubicBezTo>
                  <a:pt x="575" y="5468"/>
                  <a:pt x="534" y="5711"/>
                  <a:pt x="488" y="5954"/>
                </a:cubicBezTo>
                <a:cubicBezTo>
                  <a:pt x="462" y="6092"/>
                  <a:pt x="435" y="6229"/>
                  <a:pt x="409" y="6367"/>
                </a:cubicBezTo>
                <a:lnTo>
                  <a:pt x="3769" y="6367"/>
                </a:lnTo>
                <a:cubicBezTo>
                  <a:pt x="3776" y="6330"/>
                  <a:pt x="3785" y="6292"/>
                  <a:pt x="3793" y="6254"/>
                </a:cubicBezTo>
                <a:cubicBezTo>
                  <a:pt x="3833" y="6072"/>
                  <a:pt x="3864" y="5887"/>
                  <a:pt x="3914" y="5707"/>
                </a:cubicBezTo>
                <a:cubicBezTo>
                  <a:pt x="3961" y="5536"/>
                  <a:pt x="4028" y="5495"/>
                  <a:pt x="4203" y="5497"/>
                </a:cubicBezTo>
                <a:cubicBezTo>
                  <a:pt x="4367" y="5499"/>
                  <a:pt x="4530" y="5509"/>
                  <a:pt x="4693" y="5505"/>
                </a:cubicBezTo>
                <a:cubicBezTo>
                  <a:pt x="4846" y="5502"/>
                  <a:pt x="5001" y="5501"/>
                  <a:pt x="5149" y="5468"/>
                </a:cubicBezTo>
                <a:cubicBezTo>
                  <a:pt x="5303" y="5434"/>
                  <a:pt x="5420" y="5344"/>
                  <a:pt x="5475" y="5223"/>
                </a:cubicBezTo>
                <a:cubicBezTo>
                  <a:pt x="5521" y="5123"/>
                  <a:pt x="5526" y="5002"/>
                  <a:pt x="5476" y="4872"/>
                </a:cubicBezTo>
                <a:cubicBezTo>
                  <a:pt x="5453" y="4812"/>
                  <a:pt x="5437" y="4749"/>
                  <a:pt x="5420" y="4686"/>
                </a:cubicBezTo>
                <a:cubicBezTo>
                  <a:pt x="5380" y="4539"/>
                  <a:pt x="5401" y="4409"/>
                  <a:pt x="5514" y="4298"/>
                </a:cubicBezTo>
                <a:cubicBezTo>
                  <a:pt x="5569" y="4244"/>
                  <a:pt x="5576" y="4181"/>
                  <a:pt x="5537" y="4114"/>
                </a:cubicBezTo>
                <a:cubicBezTo>
                  <a:pt x="5529" y="4102"/>
                  <a:pt x="5521" y="4089"/>
                  <a:pt x="5512" y="4078"/>
                </a:cubicBezTo>
                <a:cubicBezTo>
                  <a:pt x="5494" y="4054"/>
                  <a:pt x="5474" y="4031"/>
                  <a:pt x="5456" y="4008"/>
                </a:cubicBezTo>
                <a:cubicBezTo>
                  <a:pt x="5592" y="3952"/>
                  <a:pt x="5664" y="3809"/>
                  <a:pt x="5548" y="3671"/>
                </a:cubicBezTo>
                <a:cubicBezTo>
                  <a:pt x="5519" y="3636"/>
                  <a:pt x="5497" y="3592"/>
                  <a:pt x="5483" y="3548"/>
                </a:cubicBezTo>
                <a:cubicBezTo>
                  <a:pt x="5444" y="3419"/>
                  <a:pt x="5464" y="3338"/>
                  <a:pt x="5602" y="3299"/>
                </a:cubicBezTo>
                <a:cubicBezTo>
                  <a:pt x="5687" y="3275"/>
                  <a:pt x="5772" y="3242"/>
                  <a:pt x="5850" y="3200"/>
                </a:cubicBezTo>
                <a:cubicBezTo>
                  <a:pt x="5943" y="3151"/>
                  <a:pt x="5983" y="3066"/>
                  <a:pt x="5949" y="2969"/>
                </a:cubicBezTo>
              </a:path>
            </a:pathLst>
          </a:custGeom>
          <a:solidFill>
            <a:schemeClr val="bg1">
              <a:lumMod val="85000"/>
            </a:schemeClr>
          </a:solidFill>
          <a:ln>
            <a:noFill/>
          </a:ln>
          <a:effectLst/>
        </p:spPr>
        <p:txBody>
          <a:bodyPr wrap="none" anchor="ctr"/>
          <a:lstStyle/>
          <a:p>
            <a:endParaRPr lang="en-US" sz="6530" dirty="0">
              <a:latin typeface="DM Sans" pitchFamily="2" charset="77"/>
            </a:endParaRPr>
          </a:p>
        </p:txBody>
      </p:sp>
      <p:sp>
        <p:nvSpPr>
          <p:cNvPr id="16" name="Freeform 438">
            <a:extLst>
              <a:ext uri="{FF2B5EF4-FFF2-40B4-BE49-F238E27FC236}">
                <a16:creationId xmlns:a16="http://schemas.microsoft.com/office/drawing/2014/main" id="{E9C9AAF7-0910-05CE-16E1-E4AEA18FF888}"/>
              </a:ext>
            </a:extLst>
          </p:cNvPr>
          <p:cNvSpPr>
            <a:spLocks noChangeArrowheads="1"/>
          </p:cNvSpPr>
          <p:nvPr/>
        </p:nvSpPr>
        <p:spPr bwMode="auto">
          <a:xfrm>
            <a:off x="1489781" y="3148763"/>
            <a:ext cx="444730" cy="362956"/>
          </a:xfrm>
          <a:custGeom>
            <a:avLst/>
            <a:gdLst>
              <a:gd name="T0" fmla="*/ 93692 w 815"/>
              <a:gd name="T1" fmla="*/ 226056 h 667"/>
              <a:gd name="T2" fmla="*/ 120358 w 815"/>
              <a:gd name="T3" fmla="*/ 39892 h 667"/>
              <a:gd name="T4" fmla="*/ 126844 w 815"/>
              <a:gd name="T5" fmla="*/ 26595 h 667"/>
              <a:gd name="T6" fmla="*/ 86845 w 815"/>
              <a:gd name="T7" fmla="*/ 26595 h 667"/>
              <a:gd name="T8" fmla="*/ 79998 w 815"/>
              <a:gd name="T9" fmla="*/ 232885 h 667"/>
              <a:gd name="T10" fmla="*/ 86845 w 815"/>
              <a:gd name="T11" fmla="*/ 239354 h 667"/>
              <a:gd name="T12" fmla="*/ 126844 w 815"/>
              <a:gd name="T13" fmla="*/ 239354 h 667"/>
              <a:gd name="T14" fmla="*/ 133330 w 815"/>
              <a:gd name="T15" fmla="*/ 33423 h 667"/>
              <a:gd name="T16" fmla="*/ 126844 w 815"/>
              <a:gd name="T17" fmla="*/ 26595 h 667"/>
              <a:gd name="T18" fmla="*/ 253328 w 815"/>
              <a:gd name="T19" fmla="*/ 226056 h 667"/>
              <a:gd name="T20" fmla="*/ 279994 w 815"/>
              <a:gd name="T21" fmla="*/ 13297 h 667"/>
              <a:gd name="T22" fmla="*/ 286480 w 815"/>
              <a:gd name="T23" fmla="*/ 0 h 667"/>
              <a:gd name="T24" fmla="*/ 246841 w 815"/>
              <a:gd name="T25" fmla="*/ 0 h 667"/>
              <a:gd name="T26" fmla="*/ 239995 w 815"/>
              <a:gd name="T27" fmla="*/ 232885 h 667"/>
              <a:gd name="T28" fmla="*/ 246841 w 815"/>
              <a:gd name="T29" fmla="*/ 239354 h 667"/>
              <a:gd name="T30" fmla="*/ 286480 w 815"/>
              <a:gd name="T31" fmla="*/ 239354 h 667"/>
              <a:gd name="T32" fmla="*/ 293327 w 815"/>
              <a:gd name="T33" fmla="*/ 6828 h 667"/>
              <a:gd name="T34" fmla="*/ 286480 w 815"/>
              <a:gd name="T35" fmla="*/ 0 h 667"/>
              <a:gd name="T36" fmla="*/ 173329 w 815"/>
              <a:gd name="T37" fmla="*/ 226056 h 667"/>
              <a:gd name="T38" fmla="*/ 199995 w 815"/>
              <a:gd name="T39" fmla="*/ 119677 h 667"/>
              <a:gd name="T40" fmla="*/ 206842 w 815"/>
              <a:gd name="T41" fmla="*/ 106379 h 667"/>
              <a:gd name="T42" fmla="*/ 166843 w 815"/>
              <a:gd name="T43" fmla="*/ 106379 h 667"/>
              <a:gd name="T44" fmla="*/ 159996 w 815"/>
              <a:gd name="T45" fmla="*/ 232885 h 667"/>
              <a:gd name="T46" fmla="*/ 166843 w 815"/>
              <a:gd name="T47" fmla="*/ 239354 h 667"/>
              <a:gd name="T48" fmla="*/ 206842 w 815"/>
              <a:gd name="T49" fmla="*/ 239354 h 667"/>
              <a:gd name="T50" fmla="*/ 213328 w 815"/>
              <a:gd name="T51" fmla="*/ 112848 h 667"/>
              <a:gd name="T52" fmla="*/ 206842 w 815"/>
              <a:gd name="T53" fmla="*/ 106379 h 667"/>
              <a:gd name="T54" fmla="*/ 13693 w 815"/>
              <a:gd name="T55" fmla="*/ 226056 h 667"/>
              <a:gd name="T56" fmla="*/ 40359 w 815"/>
              <a:gd name="T57" fmla="*/ 159569 h 667"/>
              <a:gd name="T58" fmla="*/ 46846 w 815"/>
              <a:gd name="T59" fmla="*/ 146272 h 667"/>
              <a:gd name="T60" fmla="*/ 6847 w 815"/>
              <a:gd name="T61" fmla="*/ 146272 h 667"/>
              <a:gd name="T62" fmla="*/ 0 w 815"/>
              <a:gd name="T63" fmla="*/ 232885 h 667"/>
              <a:gd name="T64" fmla="*/ 6847 w 815"/>
              <a:gd name="T65" fmla="*/ 239354 h 667"/>
              <a:gd name="T66" fmla="*/ 46846 w 815"/>
              <a:gd name="T67" fmla="*/ 239354 h 667"/>
              <a:gd name="T68" fmla="*/ 53332 w 815"/>
              <a:gd name="T69" fmla="*/ 153100 h 667"/>
              <a:gd name="T70" fmla="*/ 46846 w 815"/>
              <a:gd name="T71" fmla="*/ 146272 h 66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15" h="667">
                <a:moveTo>
                  <a:pt x="334" y="629"/>
                </a:moveTo>
                <a:lnTo>
                  <a:pt x="260" y="629"/>
                </a:lnTo>
                <a:lnTo>
                  <a:pt x="260" y="111"/>
                </a:lnTo>
                <a:lnTo>
                  <a:pt x="334" y="111"/>
                </a:lnTo>
                <a:lnTo>
                  <a:pt x="334" y="629"/>
                </a:lnTo>
                <a:close/>
                <a:moveTo>
                  <a:pt x="352" y="74"/>
                </a:moveTo>
                <a:lnTo>
                  <a:pt x="241" y="74"/>
                </a:lnTo>
                <a:cubicBezTo>
                  <a:pt x="231" y="74"/>
                  <a:pt x="222" y="83"/>
                  <a:pt x="222" y="93"/>
                </a:cubicBezTo>
                <a:lnTo>
                  <a:pt x="222" y="648"/>
                </a:lnTo>
                <a:cubicBezTo>
                  <a:pt x="222" y="657"/>
                  <a:pt x="231" y="666"/>
                  <a:pt x="241" y="666"/>
                </a:cubicBezTo>
                <a:lnTo>
                  <a:pt x="352" y="666"/>
                </a:lnTo>
                <a:cubicBezTo>
                  <a:pt x="362" y="666"/>
                  <a:pt x="370" y="657"/>
                  <a:pt x="370" y="648"/>
                </a:cubicBezTo>
                <a:lnTo>
                  <a:pt x="370" y="93"/>
                </a:lnTo>
                <a:cubicBezTo>
                  <a:pt x="370" y="83"/>
                  <a:pt x="362" y="74"/>
                  <a:pt x="352" y="74"/>
                </a:cubicBezTo>
                <a:close/>
                <a:moveTo>
                  <a:pt x="777" y="629"/>
                </a:moveTo>
                <a:lnTo>
                  <a:pt x="703" y="629"/>
                </a:lnTo>
                <a:lnTo>
                  <a:pt x="703" y="37"/>
                </a:lnTo>
                <a:lnTo>
                  <a:pt x="777" y="37"/>
                </a:lnTo>
                <a:lnTo>
                  <a:pt x="777" y="629"/>
                </a:lnTo>
                <a:close/>
                <a:moveTo>
                  <a:pt x="795" y="0"/>
                </a:moveTo>
                <a:lnTo>
                  <a:pt x="685" y="0"/>
                </a:lnTo>
                <a:cubicBezTo>
                  <a:pt x="674" y="0"/>
                  <a:pt x="666" y="8"/>
                  <a:pt x="666" y="19"/>
                </a:cubicBezTo>
                <a:lnTo>
                  <a:pt x="666" y="648"/>
                </a:lnTo>
                <a:cubicBezTo>
                  <a:pt x="666" y="657"/>
                  <a:pt x="674" y="666"/>
                  <a:pt x="685" y="666"/>
                </a:cubicBezTo>
                <a:lnTo>
                  <a:pt x="795" y="666"/>
                </a:lnTo>
                <a:cubicBezTo>
                  <a:pt x="806" y="666"/>
                  <a:pt x="814" y="657"/>
                  <a:pt x="814" y="648"/>
                </a:cubicBezTo>
                <a:lnTo>
                  <a:pt x="814" y="19"/>
                </a:lnTo>
                <a:cubicBezTo>
                  <a:pt x="814" y="8"/>
                  <a:pt x="806" y="0"/>
                  <a:pt x="795" y="0"/>
                </a:cubicBezTo>
                <a:close/>
                <a:moveTo>
                  <a:pt x="555" y="629"/>
                </a:moveTo>
                <a:lnTo>
                  <a:pt x="481" y="629"/>
                </a:lnTo>
                <a:lnTo>
                  <a:pt x="481" y="333"/>
                </a:lnTo>
                <a:lnTo>
                  <a:pt x="555" y="333"/>
                </a:lnTo>
                <a:lnTo>
                  <a:pt x="555" y="629"/>
                </a:lnTo>
                <a:close/>
                <a:moveTo>
                  <a:pt x="574" y="296"/>
                </a:moveTo>
                <a:lnTo>
                  <a:pt x="463" y="296"/>
                </a:lnTo>
                <a:cubicBezTo>
                  <a:pt x="452" y="296"/>
                  <a:pt x="444" y="305"/>
                  <a:pt x="444" y="314"/>
                </a:cubicBezTo>
                <a:lnTo>
                  <a:pt x="444" y="648"/>
                </a:lnTo>
                <a:cubicBezTo>
                  <a:pt x="444" y="657"/>
                  <a:pt x="452" y="666"/>
                  <a:pt x="463" y="666"/>
                </a:cubicBezTo>
                <a:lnTo>
                  <a:pt x="574" y="666"/>
                </a:lnTo>
                <a:cubicBezTo>
                  <a:pt x="584" y="666"/>
                  <a:pt x="592" y="657"/>
                  <a:pt x="592" y="648"/>
                </a:cubicBezTo>
                <a:lnTo>
                  <a:pt x="592" y="314"/>
                </a:lnTo>
                <a:cubicBezTo>
                  <a:pt x="592" y="305"/>
                  <a:pt x="584" y="296"/>
                  <a:pt x="574" y="296"/>
                </a:cubicBezTo>
                <a:close/>
                <a:moveTo>
                  <a:pt x="112" y="629"/>
                </a:moveTo>
                <a:lnTo>
                  <a:pt x="38" y="629"/>
                </a:lnTo>
                <a:lnTo>
                  <a:pt x="38" y="444"/>
                </a:lnTo>
                <a:lnTo>
                  <a:pt x="112" y="444"/>
                </a:lnTo>
                <a:lnTo>
                  <a:pt x="112" y="629"/>
                </a:lnTo>
                <a:close/>
                <a:moveTo>
                  <a:pt x="130" y="407"/>
                </a:moveTo>
                <a:lnTo>
                  <a:pt x="19" y="407"/>
                </a:lnTo>
                <a:cubicBezTo>
                  <a:pt x="9" y="407"/>
                  <a:pt x="0" y="415"/>
                  <a:pt x="0" y="426"/>
                </a:cubicBezTo>
                <a:lnTo>
                  <a:pt x="0" y="648"/>
                </a:lnTo>
                <a:cubicBezTo>
                  <a:pt x="0" y="657"/>
                  <a:pt x="9" y="666"/>
                  <a:pt x="19" y="666"/>
                </a:cubicBezTo>
                <a:lnTo>
                  <a:pt x="130" y="666"/>
                </a:lnTo>
                <a:cubicBezTo>
                  <a:pt x="140" y="666"/>
                  <a:pt x="148" y="657"/>
                  <a:pt x="148" y="648"/>
                </a:cubicBezTo>
                <a:lnTo>
                  <a:pt x="148" y="426"/>
                </a:lnTo>
                <a:cubicBezTo>
                  <a:pt x="148" y="415"/>
                  <a:pt x="140" y="407"/>
                  <a:pt x="130" y="407"/>
                </a:cubicBezTo>
                <a:close/>
              </a:path>
            </a:pathLst>
          </a:custGeom>
          <a:solidFill>
            <a:schemeClr val="bg1"/>
          </a:solidFill>
          <a:ln>
            <a:noFill/>
          </a:ln>
          <a:effectLst/>
        </p:spPr>
        <p:txBody>
          <a:bodyPr wrap="none" anchor="ctr"/>
          <a:lstStyle/>
          <a:p>
            <a:endParaRPr lang="en-US" sz="6530" dirty="0">
              <a:latin typeface="DM Sans" pitchFamily="2" charset="77"/>
            </a:endParaRPr>
          </a:p>
        </p:txBody>
      </p:sp>
      <p:sp>
        <p:nvSpPr>
          <p:cNvPr id="17" name="Freeform 439">
            <a:extLst>
              <a:ext uri="{FF2B5EF4-FFF2-40B4-BE49-F238E27FC236}">
                <a16:creationId xmlns:a16="http://schemas.microsoft.com/office/drawing/2014/main" id="{036AF5F9-967C-8B85-0960-920DDDDAA42A}"/>
              </a:ext>
            </a:extLst>
          </p:cNvPr>
          <p:cNvSpPr>
            <a:spLocks noChangeArrowheads="1"/>
          </p:cNvSpPr>
          <p:nvPr/>
        </p:nvSpPr>
        <p:spPr bwMode="auto">
          <a:xfrm>
            <a:off x="1489781" y="2105565"/>
            <a:ext cx="444730" cy="444681"/>
          </a:xfrm>
          <a:custGeom>
            <a:avLst/>
            <a:gdLst>
              <a:gd name="T0" fmla="*/ 95493 w 815"/>
              <a:gd name="T1" fmla="*/ 173182 h 814"/>
              <a:gd name="T2" fmla="*/ 120358 w 815"/>
              <a:gd name="T3" fmla="*/ 173182 h 814"/>
              <a:gd name="T4" fmla="*/ 120358 w 815"/>
              <a:gd name="T5" fmla="*/ 198438 h 814"/>
              <a:gd name="T6" fmla="*/ 90088 w 815"/>
              <a:gd name="T7" fmla="*/ 203489 h 814"/>
              <a:gd name="T8" fmla="*/ 95493 w 815"/>
              <a:gd name="T9" fmla="*/ 173182 h 814"/>
              <a:gd name="T10" fmla="*/ 228103 w 815"/>
              <a:gd name="T11" fmla="*/ 37162 h 814"/>
              <a:gd name="T12" fmla="*/ 256210 w 815"/>
              <a:gd name="T13" fmla="*/ 65304 h 814"/>
              <a:gd name="T14" fmla="*/ 133330 w 815"/>
              <a:gd name="T15" fmla="*/ 188336 h 814"/>
              <a:gd name="T16" fmla="*/ 133330 w 815"/>
              <a:gd name="T17" fmla="*/ 173182 h 814"/>
              <a:gd name="T18" fmla="*/ 133330 w 815"/>
              <a:gd name="T19" fmla="*/ 159833 h 814"/>
              <a:gd name="T20" fmla="*/ 120358 w 815"/>
              <a:gd name="T21" fmla="*/ 159833 h 814"/>
              <a:gd name="T22" fmla="*/ 105223 w 815"/>
              <a:gd name="T23" fmla="*/ 159833 h 814"/>
              <a:gd name="T24" fmla="*/ 228103 w 815"/>
              <a:gd name="T25" fmla="*/ 37162 h 814"/>
              <a:gd name="T26" fmla="*/ 245760 w 815"/>
              <a:gd name="T27" fmla="*/ 19122 h 814"/>
              <a:gd name="T28" fmla="*/ 245760 w 815"/>
              <a:gd name="T29" fmla="*/ 19122 h 814"/>
              <a:gd name="T30" fmla="*/ 260174 w 815"/>
              <a:gd name="T31" fmla="*/ 12989 h 814"/>
              <a:gd name="T32" fmla="*/ 260174 w 815"/>
              <a:gd name="T33" fmla="*/ 12989 h 814"/>
              <a:gd name="T34" fmla="*/ 279994 w 815"/>
              <a:gd name="T35" fmla="*/ 33193 h 814"/>
              <a:gd name="T36" fmla="*/ 279994 w 815"/>
              <a:gd name="T37" fmla="*/ 33193 h 814"/>
              <a:gd name="T38" fmla="*/ 274228 w 815"/>
              <a:gd name="T39" fmla="*/ 47264 h 814"/>
              <a:gd name="T40" fmla="*/ 265580 w 815"/>
              <a:gd name="T41" fmla="*/ 55923 h 814"/>
              <a:gd name="T42" fmla="*/ 237112 w 815"/>
              <a:gd name="T43" fmla="*/ 27781 h 814"/>
              <a:gd name="T44" fmla="*/ 245760 w 815"/>
              <a:gd name="T45" fmla="*/ 19122 h 814"/>
              <a:gd name="T46" fmla="*/ 73512 w 815"/>
              <a:gd name="T47" fmla="*/ 219725 h 814"/>
              <a:gd name="T48" fmla="*/ 130447 w 815"/>
              <a:gd name="T49" fmla="*/ 209983 h 814"/>
              <a:gd name="T50" fmla="*/ 283597 w 815"/>
              <a:gd name="T51" fmla="*/ 56645 h 814"/>
              <a:gd name="T52" fmla="*/ 283597 w 815"/>
              <a:gd name="T53" fmla="*/ 56645 h 814"/>
              <a:gd name="T54" fmla="*/ 293327 w 815"/>
              <a:gd name="T55" fmla="*/ 33193 h 814"/>
              <a:gd name="T56" fmla="*/ 293327 w 815"/>
              <a:gd name="T57" fmla="*/ 33193 h 814"/>
              <a:gd name="T58" fmla="*/ 260174 w 815"/>
              <a:gd name="T59" fmla="*/ 0 h 814"/>
              <a:gd name="T60" fmla="*/ 260174 w 815"/>
              <a:gd name="T61" fmla="*/ 0 h 814"/>
              <a:gd name="T62" fmla="*/ 236751 w 815"/>
              <a:gd name="T63" fmla="*/ 9741 h 814"/>
              <a:gd name="T64" fmla="*/ 83241 w 815"/>
              <a:gd name="T65" fmla="*/ 163080 h 814"/>
              <a:gd name="T66" fmla="*/ 73512 w 815"/>
              <a:gd name="T67" fmla="*/ 219725 h 814"/>
              <a:gd name="T68" fmla="*/ 286480 w 815"/>
              <a:gd name="T69" fmla="*/ 99941 h 814"/>
              <a:gd name="T70" fmla="*/ 286480 w 815"/>
              <a:gd name="T71" fmla="*/ 99941 h 814"/>
              <a:gd name="T72" fmla="*/ 279994 w 815"/>
              <a:gd name="T73" fmla="*/ 106435 h 814"/>
              <a:gd name="T74" fmla="*/ 279994 w 815"/>
              <a:gd name="T75" fmla="*/ 253279 h 814"/>
              <a:gd name="T76" fmla="*/ 279994 w 815"/>
              <a:gd name="T77" fmla="*/ 253279 h 814"/>
              <a:gd name="T78" fmla="*/ 253328 w 815"/>
              <a:gd name="T79" fmla="*/ 279978 h 814"/>
              <a:gd name="T80" fmla="*/ 40359 w 815"/>
              <a:gd name="T81" fmla="*/ 279978 h 814"/>
              <a:gd name="T82" fmla="*/ 40359 w 815"/>
              <a:gd name="T83" fmla="*/ 279978 h 814"/>
              <a:gd name="T84" fmla="*/ 13693 w 815"/>
              <a:gd name="T85" fmla="*/ 253279 h 814"/>
              <a:gd name="T86" fmla="*/ 13693 w 815"/>
              <a:gd name="T87" fmla="*/ 39688 h 814"/>
              <a:gd name="T88" fmla="*/ 13693 w 815"/>
              <a:gd name="T89" fmla="*/ 39688 h 814"/>
              <a:gd name="T90" fmla="*/ 40359 w 815"/>
              <a:gd name="T91" fmla="*/ 12989 h 814"/>
              <a:gd name="T92" fmla="*/ 186662 w 815"/>
              <a:gd name="T93" fmla="*/ 12989 h 814"/>
              <a:gd name="T94" fmla="*/ 186662 w 815"/>
              <a:gd name="T95" fmla="*/ 12989 h 814"/>
              <a:gd name="T96" fmla="*/ 193509 w 815"/>
              <a:gd name="T97" fmla="*/ 6494 h 814"/>
              <a:gd name="T98" fmla="*/ 193509 w 815"/>
              <a:gd name="T99" fmla="*/ 6494 h 814"/>
              <a:gd name="T100" fmla="*/ 186662 w 815"/>
              <a:gd name="T101" fmla="*/ 0 h 814"/>
              <a:gd name="T102" fmla="*/ 40359 w 815"/>
              <a:gd name="T103" fmla="*/ 0 h 814"/>
              <a:gd name="T104" fmla="*/ 40359 w 815"/>
              <a:gd name="T105" fmla="*/ 0 h 814"/>
              <a:gd name="T106" fmla="*/ 0 w 815"/>
              <a:gd name="T107" fmla="*/ 39688 h 814"/>
              <a:gd name="T108" fmla="*/ 0 w 815"/>
              <a:gd name="T109" fmla="*/ 253279 h 814"/>
              <a:gd name="T110" fmla="*/ 0 w 815"/>
              <a:gd name="T111" fmla="*/ 253279 h 814"/>
              <a:gd name="T112" fmla="*/ 40359 w 815"/>
              <a:gd name="T113" fmla="*/ 293327 h 814"/>
              <a:gd name="T114" fmla="*/ 253328 w 815"/>
              <a:gd name="T115" fmla="*/ 293327 h 814"/>
              <a:gd name="T116" fmla="*/ 253328 w 815"/>
              <a:gd name="T117" fmla="*/ 293327 h 814"/>
              <a:gd name="T118" fmla="*/ 293327 w 815"/>
              <a:gd name="T119" fmla="*/ 253279 h 814"/>
              <a:gd name="T120" fmla="*/ 293327 w 815"/>
              <a:gd name="T121" fmla="*/ 106435 h 814"/>
              <a:gd name="T122" fmla="*/ 293327 w 815"/>
              <a:gd name="T123" fmla="*/ 106435 h 814"/>
              <a:gd name="T124" fmla="*/ 286480 w 815"/>
              <a:gd name="T125" fmla="*/ 99941 h 8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15" h="814">
                <a:moveTo>
                  <a:pt x="265" y="480"/>
                </a:moveTo>
                <a:lnTo>
                  <a:pt x="334" y="480"/>
                </a:lnTo>
                <a:lnTo>
                  <a:pt x="334" y="550"/>
                </a:lnTo>
                <a:lnTo>
                  <a:pt x="250" y="564"/>
                </a:lnTo>
                <a:lnTo>
                  <a:pt x="265" y="480"/>
                </a:lnTo>
                <a:close/>
                <a:moveTo>
                  <a:pt x="633" y="103"/>
                </a:moveTo>
                <a:lnTo>
                  <a:pt x="711" y="181"/>
                </a:lnTo>
                <a:lnTo>
                  <a:pt x="370" y="522"/>
                </a:lnTo>
                <a:lnTo>
                  <a:pt x="370" y="480"/>
                </a:lnTo>
                <a:lnTo>
                  <a:pt x="370" y="443"/>
                </a:lnTo>
                <a:lnTo>
                  <a:pt x="334" y="443"/>
                </a:lnTo>
                <a:lnTo>
                  <a:pt x="292" y="443"/>
                </a:lnTo>
                <a:lnTo>
                  <a:pt x="633" y="103"/>
                </a:lnTo>
                <a:close/>
                <a:moveTo>
                  <a:pt x="682" y="53"/>
                </a:moveTo>
                <a:lnTo>
                  <a:pt x="682" y="53"/>
                </a:lnTo>
                <a:cubicBezTo>
                  <a:pt x="692" y="42"/>
                  <a:pt x="706" y="36"/>
                  <a:pt x="722" y="36"/>
                </a:cubicBezTo>
                <a:cubicBezTo>
                  <a:pt x="753" y="36"/>
                  <a:pt x="777" y="62"/>
                  <a:pt x="777" y="92"/>
                </a:cubicBezTo>
                <a:cubicBezTo>
                  <a:pt x="777" y="107"/>
                  <a:pt x="771" y="121"/>
                  <a:pt x="761" y="131"/>
                </a:cubicBezTo>
                <a:lnTo>
                  <a:pt x="737" y="155"/>
                </a:lnTo>
                <a:lnTo>
                  <a:pt x="658" y="77"/>
                </a:lnTo>
                <a:lnTo>
                  <a:pt x="682" y="53"/>
                </a:lnTo>
                <a:close/>
                <a:moveTo>
                  <a:pt x="204" y="609"/>
                </a:moveTo>
                <a:lnTo>
                  <a:pt x="362" y="582"/>
                </a:lnTo>
                <a:lnTo>
                  <a:pt x="787" y="157"/>
                </a:lnTo>
                <a:cubicBezTo>
                  <a:pt x="804" y="140"/>
                  <a:pt x="814" y="118"/>
                  <a:pt x="814" y="92"/>
                </a:cubicBezTo>
                <a:cubicBezTo>
                  <a:pt x="814" y="41"/>
                  <a:pt x="773" y="0"/>
                  <a:pt x="722" y="0"/>
                </a:cubicBezTo>
                <a:cubicBezTo>
                  <a:pt x="696" y="0"/>
                  <a:pt x="673" y="10"/>
                  <a:pt x="657" y="27"/>
                </a:cubicBezTo>
                <a:lnTo>
                  <a:pt x="231" y="452"/>
                </a:lnTo>
                <a:lnTo>
                  <a:pt x="204" y="609"/>
                </a:lnTo>
                <a:close/>
                <a:moveTo>
                  <a:pt x="795" y="277"/>
                </a:moveTo>
                <a:lnTo>
                  <a:pt x="795" y="277"/>
                </a:lnTo>
                <a:cubicBezTo>
                  <a:pt x="785" y="277"/>
                  <a:pt x="777" y="285"/>
                  <a:pt x="777" y="295"/>
                </a:cubicBezTo>
                <a:lnTo>
                  <a:pt x="777" y="702"/>
                </a:lnTo>
                <a:cubicBezTo>
                  <a:pt x="777" y="743"/>
                  <a:pt x="744" y="776"/>
                  <a:pt x="703" y="776"/>
                </a:cubicBezTo>
                <a:lnTo>
                  <a:pt x="112" y="776"/>
                </a:lnTo>
                <a:cubicBezTo>
                  <a:pt x="71" y="776"/>
                  <a:pt x="38" y="743"/>
                  <a:pt x="38" y="702"/>
                </a:cubicBezTo>
                <a:lnTo>
                  <a:pt x="38" y="110"/>
                </a:lnTo>
                <a:cubicBezTo>
                  <a:pt x="38" y="69"/>
                  <a:pt x="71" y="36"/>
                  <a:pt x="112" y="36"/>
                </a:cubicBezTo>
                <a:lnTo>
                  <a:pt x="518" y="36"/>
                </a:lnTo>
                <a:cubicBezTo>
                  <a:pt x="529" y="36"/>
                  <a:pt x="537" y="28"/>
                  <a:pt x="537" y="18"/>
                </a:cubicBezTo>
                <a:cubicBezTo>
                  <a:pt x="537" y="8"/>
                  <a:pt x="529" y="0"/>
                  <a:pt x="518" y="0"/>
                </a:cubicBezTo>
                <a:lnTo>
                  <a:pt x="112" y="0"/>
                </a:lnTo>
                <a:cubicBezTo>
                  <a:pt x="50" y="0"/>
                  <a:pt x="0" y="49"/>
                  <a:pt x="0" y="110"/>
                </a:cubicBezTo>
                <a:lnTo>
                  <a:pt x="0" y="702"/>
                </a:lnTo>
                <a:cubicBezTo>
                  <a:pt x="0" y="764"/>
                  <a:pt x="50" y="813"/>
                  <a:pt x="112" y="813"/>
                </a:cubicBezTo>
                <a:lnTo>
                  <a:pt x="703" y="813"/>
                </a:lnTo>
                <a:cubicBezTo>
                  <a:pt x="765" y="813"/>
                  <a:pt x="814" y="764"/>
                  <a:pt x="814" y="702"/>
                </a:cubicBezTo>
                <a:lnTo>
                  <a:pt x="814" y="295"/>
                </a:lnTo>
                <a:cubicBezTo>
                  <a:pt x="814" y="285"/>
                  <a:pt x="806" y="277"/>
                  <a:pt x="795" y="277"/>
                </a:cubicBezTo>
                <a:close/>
              </a:path>
            </a:pathLst>
          </a:custGeom>
          <a:solidFill>
            <a:schemeClr val="bg1"/>
          </a:solidFill>
          <a:ln>
            <a:noFill/>
          </a:ln>
          <a:effectLst/>
        </p:spPr>
        <p:txBody>
          <a:bodyPr wrap="none" anchor="ctr"/>
          <a:lstStyle/>
          <a:p>
            <a:endParaRPr lang="en-US" sz="6530" dirty="0">
              <a:latin typeface="DM Sans" pitchFamily="2" charset="77"/>
            </a:endParaRPr>
          </a:p>
        </p:txBody>
      </p:sp>
      <p:sp>
        <p:nvSpPr>
          <p:cNvPr id="18" name="Freeform 440">
            <a:extLst>
              <a:ext uri="{FF2B5EF4-FFF2-40B4-BE49-F238E27FC236}">
                <a16:creationId xmlns:a16="http://schemas.microsoft.com/office/drawing/2014/main" id="{2676D5D9-2CCE-F87C-CBDE-1AD3864A934C}"/>
              </a:ext>
            </a:extLst>
          </p:cNvPr>
          <p:cNvSpPr>
            <a:spLocks noChangeArrowheads="1"/>
          </p:cNvSpPr>
          <p:nvPr/>
        </p:nvSpPr>
        <p:spPr bwMode="auto">
          <a:xfrm>
            <a:off x="2357605" y="2607935"/>
            <a:ext cx="444731" cy="442277"/>
          </a:xfrm>
          <a:custGeom>
            <a:avLst/>
            <a:gdLst>
              <a:gd name="T0" fmla="*/ 113511 w 815"/>
              <a:gd name="T1" fmla="*/ 145152 h 813"/>
              <a:gd name="T2" fmla="*/ 147024 w 815"/>
              <a:gd name="T3" fmla="*/ 195452 h 813"/>
              <a:gd name="T4" fmla="*/ 148466 w 815"/>
              <a:gd name="T5" fmla="*/ 197248 h 813"/>
              <a:gd name="T6" fmla="*/ 153150 w 815"/>
              <a:gd name="T7" fmla="*/ 198685 h 813"/>
              <a:gd name="T8" fmla="*/ 157835 w 815"/>
              <a:gd name="T9" fmla="*/ 197248 h 813"/>
              <a:gd name="T10" fmla="*/ 234230 w 815"/>
              <a:gd name="T11" fmla="*/ 238926 h 813"/>
              <a:gd name="T12" fmla="*/ 252608 w 815"/>
              <a:gd name="T13" fmla="*/ 243237 h 813"/>
              <a:gd name="T14" fmla="*/ 252608 w 815"/>
              <a:gd name="T15" fmla="*/ 242878 h 813"/>
              <a:gd name="T16" fmla="*/ 192789 w 815"/>
              <a:gd name="T17" fmla="*/ 157008 h 813"/>
              <a:gd name="T18" fmla="*/ 192789 w 815"/>
              <a:gd name="T19" fmla="*/ 157008 h 813"/>
              <a:gd name="T20" fmla="*/ 186663 w 815"/>
              <a:gd name="T21" fmla="*/ 152697 h 813"/>
              <a:gd name="T22" fmla="*/ 154231 w 815"/>
              <a:gd name="T23" fmla="*/ 182158 h 813"/>
              <a:gd name="T24" fmla="*/ 119277 w 815"/>
              <a:gd name="T25" fmla="*/ 130421 h 813"/>
              <a:gd name="T26" fmla="*/ 113511 w 815"/>
              <a:gd name="T27" fmla="*/ 126110 h 813"/>
              <a:gd name="T28" fmla="*/ 107746 w 815"/>
              <a:gd name="T29" fmla="*/ 128984 h 813"/>
              <a:gd name="T30" fmla="*/ 41080 w 815"/>
              <a:gd name="T31" fmla="*/ 241800 h 813"/>
              <a:gd name="T32" fmla="*/ 39999 w 815"/>
              <a:gd name="T33" fmla="*/ 245393 h 813"/>
              <a:gd name="T34" fmla="*/ 46486 w 815"/>
              <a:gd name="T35" fmla="*/ 251860 h 813"/>
              <a:gd name="T36" fmla="*/ 246482 w 815"/>
              <a:gd name="T37" fmla="*/ 251860 h 813"/>
              <a:gd name="T38" fmla="*/ 253328 w 815"/>
              <a:gd name="T39" fmla="*/ 245393 h 813"/>
              <a:gd name="T40" fmla="*/ 279995 w 815"/>
              <a:gd name="T41" fmla="*/ 265513 h 813"/>
              <a:gd name="T42" fmla="*/ 266661 w 815"/>
              <a:gd name="T43" fmla="*/ 278806 h 813"/>
              <a:gd name="T44" fmla="*/ 26666 w 815"/>
              <a:gd name="T45" fmla="*/ 278806 h 813"/>
              <a:gd name="T46" fmla="*/ 13333 w 815"/>
              <a:gd name="T47" fmla="*/ 26587 h 813"/>
              <a:gd name="T48" fmla="*/ 26666 w 815"/>
              <a:gd name="T49" fmla="*/ 12934 h 813"/>
              <a:gd name="T50" fmla="*/ 266661 w 815"/>
              <a:gd name="T51" fmla="*/ 12934 h 813"/>
              <a:gd name="T52" fmla="*/ 279995 w 815"/>
              <a:gd name="T53" fmla="*/ 265513 h 813"/>
              <a:gd name="T54" fmla="*/ 26666 w 815"/>
              <a:gd name="T55" fmla="*/ 0 h 813"/>
              <a:gd name="T56" fmla="*/ 0 w 815"/>
              <a:gd name="T57" fmla="*/ 26587 h 813"/>
              <a:gd name="T58" fmla="*/ 0 w 815"/>
              <a:gd name="T59" fmla="*/ 265513 h 813"/>
              <a:gd name="T60" fmla="*/ 266661 w 815"/>
              <a:gd name="T61" fmla="*/ 291741 h 813"/>
              <a:gd name="T62" fmla="*/ 293328 w 815"/>
              <a:gd name="T63" fmla="*/ 265513 h 813"/>
              <a:gd name="T64" fmla="*/ 293328 w 815"/>
              <a:gd name="T65" fmla="*/ 26587 h 813"/>
              <a:gd name="T66" fmla="*/ 73152 w 815"/>
              <a:gd name="T67" fmla="*/ 53174 h 813"/>
              <a:gd name="T68" fmla="*/ 93332 w 815"/>
              <a:gd name="T69" fmla="*/ 72935 h 813"/>
              <a:gd name="T70" fmla="*/ 73152 w 815"/>
              <a:gd name="T71" fmla="*/ 93055 h 813"/>
              <a:gd name="T72" fmla="*/ 53332 w 815"/>
              <a:gd name="T73" fmla="*/ 72935 h 813"/>
              <a:gd name="T74" fmla="*/ 73152 w 815"/>
              <a:gd name="T75" fmla="*/ 53174 h 813"/>
              <a:gd name="T76" fmla="*/ 73152 w 815"/>
              <a:gd name="T77" fmla="*/ 106349 h 813"/>
              <a:gd name="T78" fmla="*/ 106665 w 815"/>
              <a:gd name="T79" fmla="*/ 72935 h 813"/>
              <a:gd name="T80" fmla="*/ 73152 w 815"/>
              <a:gd name="T81" fmla="*/ 39522 h 813"/>
              <a:gd name="T82" fmla="*/ 39999 w 815"/>
              <a:gd name="T83" fmla="*/ 72935 h 81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815" h="813">
                <a:moveTo>
                  <a:pt x="162" y="665"/>
                </a:moveTo>
                <a:lnTo>
                  <a:pt x="315" y="404"/>
                </a:lnTo>
                <a:lnTo>
                  <a:pt x="408" y="544"/>
                </a:lnTo>
                <a:cubicBezTo>
                  <a:pt x="410" y="545"/>
                  <a:pt x="411" y="547"/>
                  <a:pt x="412" y="549"/>
                </a:cubicBezTo>
                <a:cubicBezTo>
                  <a:pt x="416" y="552"/>
                  <a:pt x="421" y="553"/>
                  <a:pt x="425" y="553"/>
                </a:cubicBezTo>
                <a:cubicBezTo>
                  <a:pt x="430" y="553"/>
                  <a:pt x="435" y="552"/>
                  <a:pt x="438" y="549"/>
                </a:cubicBezTo>
                <a:lnTo>
                  <a:pt x="515" y="472"/>
                </a:lnTo>
                <a:lnTo>
                  <a:pt x="650" y="665"/>
                </a:lnTo>
                <a:lnTo>
                  <a:pt x="162" y="665"/>
                </a:lnTo>
                <a:close/>
                <a:moveTo>
                  <a:pt x="701" y="677"/>
                </a:moveTo>
                <a:lnTo>
                  <a:pt x="701" y="676"/>
                </a:lnTo>
                <a:cubicBezTo>
                  <a:pt x="701" y="673"/>
                  <a:pt x="699" y="672"/>
                  <a:pt x="697" y="670"/>
                </a:cubicBezTo>
                <a:lnTo>
                  <a:pt x="535" y="437"/>
                </a:lnTo>
                <a:cubicBezTo>
                  <a:pt x="532" y="430"/>
                  <a:pt x="526" y="425"/>
                  <a:pt x="518" y="425"/>
                </a:cubicBezTo>
                <a:cubicBezTo>
                  <a:pt x="513" y="425"/>
                  <a:pt x="508" y="427"/>
                  <a:pt x="505" y="431"/>
                </a:cubicBezTo>
                <a:lnTo>
                  <a:pt x="428" y="507"/>
                </a:lnTo>
                <a:lnTo>
                  <a:pt x="331" y="363"/>
                </a:lnTo>
                <a:cubicBezTo>
                  <a:pt x="329" y="356"/>
                  <a:pt x="322" y="351"/>
                  <a:pt x="315" y="351"/>
                </a:cubicBezTo>
                <a:cubicBezTo>
                  <a:pt x="308" y="351"/>
                  <a:pt x="302" y="355"/>
                  <a:pt x="300" y="359"/>
                </a:cubicBezTo>
                <a:lnTo>
                  <a:pt x="299" y="359"/>
                </a:lnTo>
                <a:lnTo>
                  <a:pt x="114" y="673"/>
                </a:lnTo>
                <a:cubicBezTo>
                  <a:pt x="112" y="676"/>
                  <a:pt x="111" y="679"/>
                  <a:pt x="111" y="683"/>
                </a:cubicBezTo>
                <a:cubicBezTo>
                  <a:pt x="111" y="694"/>
                  <a:pt x="119" y="701"/>
                  <a:pt x="129" y="701"/>
                </a:cubicBezTo>
                <a:lnTo>
                  <a:pt x="684" y="701"/>
                </a:lnTo>
                <a:cubicBezTo>
                  <a:pt x="694" y="701"/>
                  <a:pt x="703" y="694"/>
                  <a:pt x="703" y="683"/>
                </a:cubicBezTo>
                <a:cubicBezTo>
                  <a:pt x="703" y="681"/>
                  <a:pt x="702" y="678"/>
                  <a:pt x="701" y="677"/>
                </a:cubicBezTo>
                <a:close/>
                <a:moveTo>
                  <a:pt x="777" y="739"/>
                </a:moveTo>
                <a:lnTo>
                  <a:pt x="777" y="739"/>
                </a:lnTo>
                <a:cubicBezTo>
                  <a:pt x="777" y="759"/>
                  <a:pt x="760" y="776"/>
                  <a:pt x="740" y="776"/>
                </a:cubicBezTo>
                <a:lnTo>
                  <a:pt x="74" y="776"/>
                </a:lnTo>
                <a:cubicBezTo>
                  <a:pt x="54" y="776"/>
                  <a:pt x="37" y="759"/>
                  <a:pt x="37" y="739"/>
                </a:cubicBezTo>
                <a:lnTo>
                  <a:pt x="37" y="74"/>
                </a:lnTo>
                <a:cubicBezTo>
                  <a:pt x="37" y="54"/>
                  <a:pt x="54" y="36"/>
                  <a:pt x="74" y="36"/>
                </a:cubicBezTo>
                <a:lnTo>
                  <a:pt x="740" y="36"/>
                </a:lnTo>
                <a:cubicBezTo>
                  <a:pt x="760" y="36"/>
                  <a:pt x="777" y="54"/>
                  <a:pt x="777" y="74"/>
                </a:cubicBezTo>
                <a:lnTo>
                  <a:pt x="777" y="739"/>
                </a:lnTo>
                <a:close/>
                <a:moveTo>
                  <a:pt x="740" y="0"/>
                </a:moveTo>
                <a:lnTo>
                  <a:pt x="74" y="0"/>
                </a:lnTo>
                <a:cubicBezTo>
                  <a:pt x="33" y="0"/>
                  <a:pt x="0" y="33"/>
                  <a:pt x="0" y="74"/>
                </a:cubicBezTo>
                <a:lnTo>
                  <a:pt x="0" y="739"/>
                </a:lnTo>
                <a:cubicBezTo>
                  <a:pt x="0" y="779"/>
                  <a:pt x="33" y="812"/>
                  <a:pt x="74" y="812"/>
                </a:cubicBezTo>
                <a:lnTo>
                  <a:pt x="740" y="812"/>
                </a:lnTo>
                <a:cubicBezTo>
                  <a:pt x="781" y="812"/>
                  <a:pt x="814" y="779"/>
                  <a:pt x="814" y="739"/>
                </a:cubicBezTo>
                <a:lnTo>
                  <a:pt x="814" y="74"/>
                </a:lnTo>
                <a:cubicBezTo>
                  <a:pt x="814" y="33"/>
                  <a:pt x="781" y="0"/>
                  <a:pt x="740" y="0"/>
                </a:cubicBezTo>
                <a:close/>
                <a:moveTo>
                  <a:pt x="203" y="148"/>
                </a:moveTo>
                <a:lnTo>
                  <a:pt x="203" y="148"/>
                </a:lnTo>
                <a:cubicBezTo>
                  <a:pt x="234" y="148"/>
                  <a:pt x="259" y="173"/>
                  <a:pt x="259" y="203"/>
                </a:cubicBezTo>
                <a:cubicBezTo>
                  <a:pt x="259" y="234"/>
                  <a:pt x="234" y="259"/>
                  <a:pt x="203" y="259"/>
                </a:cubicBezTo>
                <a:cubicBezTo>
                  <a:pt x="173" y="259"/>
                  <a:pt x="148" y="234"/>
                  <a:pt x="148" y="203"/>
                </a:cubicBezTo>
                <a:cubicBezTo>
                  <a:pt x="148" y="173"/>
                  <a:pt x="173" y="148"/>
                  <a:pt x="203" y="148"/>
                </a:cubicBezTo>
                <a:close/>
                <a:moveTo>
                  <a:pt x="203" y="296"/>
                </a:moveTo>
                <a:lnTo>
                  <a:pt x="203" y="296"/>
                </a:lnTo>
                <a:cubicBezTo>
                  <a:pt x="255" y="296"/>
                  <a:pt x="296" y="254"/>
                  <a:pt x="296" y="203"/>
                </a:cubicBezTo>
                <a:cubicBezTo>
                  <a:pt x="296" y="152"/>
                  <a:pt x="255" y="110"/>
                  <a:pt x="203" y="110"/>
                </a:cubicBezTo>
                <a:cubicBezTo>
                  <a:pt x="153" y="110"/>
                  <a:pt x="111" y="152"/>
                  <a:pt x="111" y="203"/>
                </a:cubicBezTo>
                <a:cubicBezTo>
                  <a:pt x="111" y="254"/>
                  <a:pt x="153" y="296"/>
                  <a:pt x="203" y="296"/>
                </a:cubicBezTo>
                <a:close/>
              </a:path>
            </a:pathLst>
          </a:custGeom>
          <a:solidFill>
            <a:schemeClr val="bg1"/>
          </a:solidFill>
          <a:ln>
            <a:noFill/>
          </a:ln>
          <a:effectLst/>
        </p:spPr>
        <p:txBody>
          <a:bodyPr wrap="none" anchor="ctr"/>
          <a:lstStyle/>
          <a:p>
            <a:endParaRPr lang="en-US" sz="6530" dirty="0">
              <a:latin typeface="DM Sans" pitchFamily="2" charset="77"/>
            </a:endParaRPr>
          </a:p>
        </p:txBody>
      </p:sp>
      <p:sp>
        <p:nvSpPr>
          <p:cNvPr id="19" name="Freeform 442">
            <a:extLst>
              <a:ext uri="{FF2B5EF4-FFF2-40B4-BE49-F238E27FC236}">
                <a16:creationId xmlns:a16="http://schemas.microsoft.com/office/drawing/2014/main" id="{B37BE6C1-DE0C-91BB-1175-9FB17A7F26A8}"/>
              </a:ext>
            </a:extLst>
          </p:cNvPr>
          <p:cNvSpPr>
            <a:spLocks noChangeArrowheads="1"/>
          </p:cNvSpPr>
          <p:nvPr/>
        </p:nvSpPr>
        <p:spPr bwMode="auto">
          <a:xfrm>
            <a:off x="3225433" y="2105565"/>
            <a:ext cx="444730" cy="444681"/>
          </a:xfrm>
          <a:custGeom>
            <a:avLst/>
            <a:gdLst>
              <a:gd name="T0" fmla="*/ 279994 w 815"/>
              <a:gd name="T1" fmla="*/ 266628 h 814"/>
              <a:gd name="T2" fmla="*/ 26666 w 815"/>
              <a:gd name="T3" fmla="*/ 279978 h 814"/>
              <a:gd name="T4" fmla="*/ 13333 w 815"/>
              <a:gd name="T5" fmla="*/ 266628 h 814"/>
              <a:gd name="T6" fmla="*/ 13333 w 815"/>
              <a:gd name="T7" fmla="*/ 26699 h 814"/>
              <a:gd name="T8" fmla="*/ 266661 w 815"/>
              <a:gd name="T9" fmla="*/ 12989 h 814"/>
              <a:gd name="T10" fmla="*/ 279994 w 815"/>
              <a:gd name="T11" fmla="*/ 26699 h 814"/>
              <a:gd name="T12" fmla="*/ 266661 w 815"/>
              <a:gd name="T13" fmla="*/ 0 h 814"/>
              <a:gd name="T14" fmla="*/ 26666 w 815"/>
              <a:gd name="T15" fmla="*/ 0 h 814"/>
              <a:gd name="T16" fmla="*/ 0 w 815"/>
              <a:gd name="T17" fmla="*/ 266628 h 814"/>
              <a:gd name="T18" fmla="*/ 26666 w 815"/>
              <a:gd name="T19" fmla="*/ 293327 h 814"/>
              <a:gd name="T20" fmla="*/ 266661 w 815"/>
              <a:gd name="T21" fmla="*/ 293327 h 814"/>
              <a:gd name="T22" fmla="*/ 293327 w 815"/>
              <a:gd name="T23" fmla="*/ 26699 h 814"/>
              <a:gd name="T24" fmla="*/ 266661 w 815"/>
              <a:gd name="T25" fmla="*/ 0 h 814"/>
              <a:gd name="T26" fmla="*/ 199995 w 815"/>
              <a:gd name="T27" fmla="*/ 159833 h 814"/>
              <a:gd name="T28" fmla="*/ 186662 w 815"/>
              <a:gd name="T29" fmla="*/ 146483 h 814"/>
              <a:gd name="T30" fmla="*/ 199995 w 815"/>
              <a:gd name="T31" fmla="*/ 133134 h 814"/>
              <a:gd name="T32" fmla="*/ 213328 w 815"/>
              <a:gd name="T33" fmla="*/ 146483 h 814"/>
              <a:gd name="T34" fmla="*/ 246841 w 815"/>
              <a:gd name="T35" fmla="*/ 139989 h 814"/>
              <a:gd name="T36" fmla="*/ 225941 w 815"/>
              <a:gd name="T37" fmla="*/ 139989 h 814"/>
              <a:gd name="T38" fmla="*/ 199995 w 815"/>
              <a:gd name="T39" fmla="*/ 119784 h 814"/>
              <a:gd name="T40" fmla="*/ 46485 w 815"/>
              <a:gd name="T41" fmla="*/ 139989 h 814"/>
              <a:gd name="T42" fmla="*/ 39999 w 815"/>
              <a:gd name="T43" fmla="*/ 146483 h 814"/>
              <a:gd name="T44" fmla="*/ 46485 w 815"/>
              <a:gd name="T45" fmla="*/ 153338 h 814"/>
              <a:gd name="T46" fmla="*/ 174050 w 815"/>
              <a:gd name="T47" fmla="*/ 153338 h 814"/>
              <a:gd name="T48" fmla="*/ 199995 w 815"/>
              <a:gd name="T49" fmla="*/ 173182 h 814"/>
              <a:gd name="T50" fmla="*/ 246841 w 815"/>
              <a:gd name="T51" fmla="*/ 153338 h 814"/>
              <a:gd name="T52" fmla="*/ 253328 w 815"/>
              <a:gd name="T53" fmla="*/ 146483 h 814"/>
              <a:gd name="T54" fmla="*/ 246841 w 815"/>
              <a:gd name="T55" fmla="*/ 139989 h 814"/>
              <a:gd name="T56" fmla="*/ 106664 w 815"/>
              <a:gd name="T57" fmla="*/ 86591 h 814"/>
              <a:gd name="T58" fmla="*/ 93331 w 815"/>
              <a:gd name="T59" fmla="*/ 73242 h 814"/>
              <a:gd name="T60" fmla="*/ 106664 w 815"/>
              <a:gd name="T61" fmla="*/ 59892 h 814"/>
              <a:gd name="T62" fmla="*/ 119997 w 815"/>
              <a:gd name="T63" fmla="*/ 73242 h 814"/>
              <a:gd name="T64" fmla="*/ 246841 w 815"/>
              <a:gd name="T65" fmla="*/ 66386 h 814"/>
              <a:gd name="T66" fmla="*/ 132249 w 815"/>
              <a:gd name="T67" fmla="*/ 66386 h 814"/>
              <a:gd name="T68" fmla="*/ 106664 w 815"/>
              <a:gd name="T69" fmla="*/ 46543 h 814"/>
              <a:gd name="T70" fmla="*/ 46485 w 815"/>
              <a:gd name="T71" fmla="*/ 66386 h 814"/>
              <a:gd name="T72" fmla="*/ 39999 w 815"/>
              <a:gd name="T73" fmla="*/ 73242 h 814"/>
              <a:gd name="T74" fmla="*/ 46485 w 815"/>
              <a:gd name="T75" fmla="*/ 79736 h 814"/>
              <a:gd name="T76" fmla="*/ 81079 w 815"/>
              <a:gd name="T77" fmla="*/ 79736 h 814"/>
              <a:gd name="T78" fmla="*/ 106664 w 815"/>
              <a:gd name="T79" fmla="*/ 99941 h 814"/>
              <a:gd name="T80" fmla="*/ 246841 w 815"/>
              <a:gd name="T81" fmla="*/ 79736 h 814"/>
              <a:gd name="T82" fmla="*/ 253328 w 815"/>
              <a:gd name="T83" fmla="*/ 73242 h 814"/>
              <a:gd name="T84" fmla="*/ 246841 w 815"/>
              <a:gd name="T85" fmla="*/ 66386 h 814"/>
              <a:gd name="T86" fmla="*/ 133330 w 815"/>
              <a:gd name="T87" fmla="*/ 233435 h 814"/>
              <a:gd name="T88" fmla="*/ 119997 w 815"/>
              <a:gd name="T89" fmla="*/ 219725 h 814"/>
              <a:gd name="T90" fmla="*/ 133330 w 815"/>
              <a:gd name="T91" fmla="*/ 206736 h 814"/>
              <a:gd name="T92" fmla="*/ 146663 w 815"/>
              <a:gd name="T93" fmla="*/ 219725 h 814"/>
              <a:gd name="T94" fmla="*/ 246841 w 815"/>
              <a:gd name="T95" fmla="*/ 213230 h 814"/>
              <a:gd name="T96" fmla="*/ 158915 w 815"/>
              <a:gd name="T97" fmla="*/ 213230 h 814"/>
              <a:gd name="T98" fmla="*/ 133330 w 815"/>
              <a:gd name="T99" fmla="*/ 193387 h 814"/>
              <a:gd name="T100" fmla="*/ 46485 w 815"/>
              <a:gd name="T101" fmla="*/ 213230 h 814"/>
              <a:gd name="T102" fmla="*/ 39999 w 815"/>
              <a:gd name="T103" fmla="*/ 219725 h 814"/>
              <a:gd name="T104" fmla="*/ 46485 w 815"/>
              <a:gd name="T105" fmla="*/ 226580 h 814"/>
              <a:gd name="T106" fmla="*/ 107745 w 815"/>
              <a:gd name="T107" fmla="*/ 226580 h 814"/>
              <a:gd name="T108" fmla="*/ 133330 w 815"/>
              <a:gd name="T109" fmla="*/ 246424 h 814"/>
              <a:gd name="T110" fmla="*/ 246841 w 815"/>
              <a:gd name="T111" fmla="*/ 226580 h 814"/>
              <a:gd name="T112" fmla="*/ 253328 w 815"/>
              <a:gd name="T113" fmla="*/ 219725 h 814"/>
              <a:gd name="T114" fmla="*/ 246841 w 815"/>
              <a:gd name="T115" fmla="*/ 213230 h 8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15" h="814">
                <a:moveTo>
                  <a:pt x="777" y="739"/>
                </a:moveTo>
                <a:lnTo>
                  <a:pt x="777" y="739"/>
                </a:lnTo>
                <a:cubicBezTo>
                  <a:pt x="777" y="760"/>
                  <a:pt x="760" y="776"/>
                  <a:pt x="740" y="776"/>
                </a:cubicBezTo>
                <a:lnTo>
                  <a:pt x="74" y="776"/>
                </a:lnTo>
                <a:cubicBezTo>
                  <a:pt x="53" y="776"/>
                  <a:pt x="37" y="760"/>
                  <a:pt x="37" y="739"/>
                </a:cubicBezTo>
                <a:lnTo>
                  <a:pt x="37" y="74"/>
                </a:lnTo>
                <a:cubicBezTo>
                  <a:pt x="37" y="53"/>
                  <a:pt x="53" y="36"/>
                  <a:pt x="74" y="36"/>
                </a:cubicBezTo>
                <a:lnTo>
                  <a:pt x="740" y="36"/>
                </a:lnTo>
                <a:cubicBezTo>
                  <a:pt x="760" y="36"/>
                  <a:pt x="777" y="53"/>
                  <a:pt x="777" y="74"/>
                </a:cubicBezTo>
                <a:lnTo>
                  <a:pt x="777" y="739"/>
                </a:lnTo>
                <a:close/>
                <a:moveTo>
                  <a:pt x="740" y="0"/>
                </a:moveTo>
                <a:lnTo>
                  <a:pt x="74" y="0"/>
                </a:lnTo>
                <a:cubicBezTo>
                  <a:pt x="33" y="0"/>
                  <a:pt x="0" y="33"/>
                  <a:pt x="0" y="74"/>
                </a:cubicBezTo>
                <a:lnTo>
                  <a:pt x="0" y="739"/>
                </a:lnTo>
                <a:cubicBezTo>
                  <a:pt x="0" y="780"/>
                  <a:pt x="33" y="813"/>
                  <a:pt x="74" y="813"/>
                </a:cubicBezTo>
                <a:lnTo>
                  <a:pt x="740" y="813"/>
                </a:lnTo>
                <a:cubicBezTo>
                  <a:pt x="781" y="813"/>
                  <a:pt x="814" y="780"/>
                  <a:pt x="814" y="739"/>
                </a:cubicBezTo>
                <a:lnTo>
                  <a:pt x="814" y="74"/>
                </a:lnTo>
                <a:cubicBezTo>
                  <a:pt x="814" y="33"/>
                  <a:pt x="781" y="0"/>
                  <a:pt x="740" y="0"/>
                </a:cubicBezTo>
                <a:close/>
                <a:moveTo>
                  <a:pt x="555" y="443"/>
                </a:moveTo>
                <a:lnTo>
                  <a:pt x="555" y="443"/>
                </a:lnTo>
                <a:cubicBezTo>
                  <a:pt x="535" y="443"/>
                  <a:pt x="518" y="426"/>
                  <a:pt x="518" y="406"/>
                </a:cubicBezTo>
                <a:cubicBezTo>
                  <a:pt x="518" y="386"/>
                  <a:pt x="535" y="369"/>
                  <a:pt x="555" y="369"/>
                </a:cubicBezTo>
                <a:cubicBezTo>
                  <a:pt x="575" y="369"/>
                  <a:pt x="592" y="386"/>
                  <a:pt x="592" y="406"/>
                </a:cubicBezTo>
                <a:cubicBezTo>
                  <a:pt x="592" y="426"/>
                  <a:pt x="575" y="443"/>
                  <a:pt x="555" y="443"/>
                </a:cubicBezTo>
                <a:close/>
                <a:moveTo>
                  <a:pt x="685" y="388"/>
                </a:moveTo>
                <a:lnTo>
                  <a:pt x="627" y="388"/>
                </a:lnTo>
                <a:cubicBezTo>
                  <a:pt x="618" y="356"/>
                  <a:pt x="589" y="332"/>
                  <a:pt x="555" y="332"/>
                </a:cubicBezTo>
                <a:cubicBezTo>
                  <a:pt x="521" y="332"/>
                  <a:pt x="492" y="356"/>
                  <a:pt x="483" y="388"/>
                </a:cubicBezTo>
                <a:lnTo>
                  <a:pt x="129" y="388"/>
                </a:lnTo>
                <a:cubicBezTo>
                  <a:pt x="120" y="388"/>
                  <a:pt x="111" y="396"/>
                  <a:pt x="111" y="406"/>
                </a:cubicBezTo>
                <a:cubicBezTo>
                  <a:pt x="111" y="417"/>
                  <a:pt x="120" y="425"/>
                  <a:pt x="129" y="425"/>
                </a:cubicBezTo>
                <a:lnTo>
                  <a:pt x="483" y="425"/>
                </a:lnTo>
                <a:cubicBezTo>
                  <a:pt x="492" y="456"/>
                  <a:pt x="521" y="480"/>
                  <a:pt x="555" y="480"/>
                </a:cubicBezTo>
                <a:cubicBezTo>
                  <a:pt x="589" y="480"/>
                  <a:pt x="618" y="456"/>
                  <a:pt x="627" y="425"/>
                </a:cubicBezTo>
                <a:lnTo>
                  <a:pt x="685" y="425"/>
                </a:lnTo>
                <a:cubicBezTo>
                  <a:pt x="694" y="425"/>
                  <a:pt x="703" y="417"/>
                  <a:pt x="703" y="406"/>
                </a:cubicBezTo>
                <a:cubicBezTo>
                  <a:pt x="703" y="396"/>
                  <a:pt x="694" y="388"/>
                  <a:pt x="685" y="388"/>
                </a:cubicBezTo>
                <a:close/>
                <a:moveTo>
                  <a:pt x="296" y="240"/>
                </a:moveTo>
                <a:lnTo>
                  <a:pt x="296" y="240"/>
                </a:lnTo>
                <a:cubicBezTo>
                  <a:pt x="276" y="240"/>
                  <a:pt x="259" y="224"/>
                  <a:pt x="259" y="203"/>
                </a:cubicBezTo>
                <a:cubicBezTo>
                  <a:pt x="259" y="183"/>
                  <a:pt x="276" y="166"/>
                  <a:pt x="296" y="166"/>
                </a:cubicBezTo>
                <a:cubicBezTo>
                  <a:pt x="316" y="166"/>
                  <a:pt x="333" y="183"/>
                  <a:pt x="333" y="203"/>
                </a:cubicBezTo>
                <a:cubicBezTo>
                  <a:pt x="333" y="224"/>
                  <a:pt x="316" y="240"/>
                  <a:pt x="296" y="240"/>
                </a:cubicBezTo>
                <a:close/>
                <a:moveTo>
                  <a:pt x="685" y="184"/>
                </a:moveTo>
                <a:lnTo>
                  <a:pt x="367" y="184"/>
                </a:lnTo>
                <a:cubicBezTo>
                  <a:pt x="359" y="153"/>
                  <a:pt x="330" y="129"/>
                  <a:pt x="296" y="129"/>
                </a:cubicBezTo>
                <a:cubicBezTo>
                  <a:pt x="261" y="129"/>
                  <a:pt x="233" y="153"/>
                  <a:pt x="225" y="184"/>
                </a:cubicBezTo>
                <a:lnTo>
                  <a:pt x="129" y="184"/>
                </a:lnTo>
                <a:cubicBezTo>
                  <a:pt x="120" y="184"/>
                  <a:pt x="111" y="193"/>
                  <a:pt x="111" y="203"/>
                </a:cubicBezTo>
                <a:cubicBezTo>
                  <a:pt x="111" y="213"/>
                  <a:pt x="120" y="221"/>
                  <a:pt x="129" y="221"/>
                </a:cubicBezTo>
                <a:lnTo>
                  <a:pt x="225" y="221"/>
                </a:lnTo>
                <a:cubicBezTo>
                  <a:pt x="233" y="253"/>
                  <a:pt x="261" y="277"/>
                  <a:pt x="296" y="277"/>
                </a:cubicBezTo>
                <a:cubicBezTo>
                  <a:pt x="330" y="277"/>
                  <a:pt x="359" y="253"/>
                  <a:pt x="367" y="221"/>
                </a:cubicBezTo>
                <a:lnTo>
                  <a:pt x="685" y="221"/>
                </a:lnTo>
                <a:cubicBezTo>
                  <a:pt x="694" y="221"/>
                  <a:pt x="703" y="213"/>
                  <a:pt x="703" y="203"/>
                </a:cubicBezTo>
                <a:cubicBezTo>
                  <a:pt x="703" y="193"/>
                  <a:pt x="694" y="184"/>
                  <a:pt x="685" y="184"/>
                </a:cubicBezTo>
                <a:close/>
                <a:moveTo>
                  <a:pt x="370" y="647"/>
                </a:moveTo>
                <a:lnTo>
                  <a:pt x="370" y="647"/>
                </a:lnTo>
                <a:cubicBezTo>
                  <a:pt x="350" y="647"/>
                  <a:pt x="333" y="630"/>
                  <a:pt x="333" y="609"/>
                </a:cubicBezTo>
                <a:cubicBezTo>
                  <a:pt x="333" y="589"/>
                  <a:pt x="350" y="573"/>
                  <a:pt x="370" y="573"/>
                </a:cubicBezTo>
                <a:cubicBezTo>
                  <a:pt x="391" y="573"/>
                  <a:pt x="407" y="589"/>
                  <a:pt x="407" y="609"/>
                </a:cubicBezTo>
                <a:cubicBezTo>
                  <a:pt x="407" y="630"/>
                  <a:pt x="391" y="647"/>
                  <a:pt x="370" y="647"/>
                </a:cubicBezTo>
                <a:close/>
                <a:moveTo>
                  <a:pt x="685" y="591"/>
                </a:moveTo>
                <a:lnTo>
                  <a:pt x="441" y="591"/>
                </a:lnTo>
                <a:cubicBezTo>
                  <a:pt x="433" y="559"/>
                  <a:pt x="404" y="536"/>
                  <a:pt x="370" y="536"/>
                </a:cubicBezTo>
                <a:cubicBezTo>
                  <a:pt x="335" y="536"/>
                  <a:pt x="307" y="559"/>
                  <a:pt x="299" y="591"/>
                </a:cubicBezTo>
                <a:lnTo>
                  <a:pt x="129" y="591"/>
                </a:lnTo>
                <a:cubicBezTo>
                  <a:pt x="120" y="591"/>
                  <a:pt x="111" y="599"/>
                  <a:pt x="111" y="609"/>
                </a:cubicBezTo>
                <a:cubicBezTo>
                  <a:pt x="111" y="620"/>
                  <a:pt x="120" y="628"/>
                  <a:pt x="129" y="628"/>
                </a:cubicBezTo>
                <a:lnTo>
                  <a:pt x="299" y="628"/>
                </a:lnTo>
                <a:cubicBezTo>
                  <a:pt x="307" y="660"/>
                  <a:pt x="335" y="683"/>
                  <a:pt x="370" y="683"/>
                </a:cubicBezTo>
                <a:cubicBezTo>
                  <a:pt x="404" y="683"/>
                  <a:pt x="433" y="660"/>
                  <a:pt x="441" y="628"/>
                </a:cubicBezTo>
                <a:lnTo>
                  <a:pt x="685" y="628"/>
                </a:lnTo>
                <a:cubicBezTo>
                  <a:pt x="694" y="628"/>
                  <a:pt x="703" y="620"/>
                  <a:pt x="703" y="609"/>
                </a:cubicBezTo>
                <a:cubicBezTo>
                  <a:pt x="703" y="599"/>
                  <a:pt x="694" y="591"/>
                  <a:pt x="685" y="591"/>
                </a:cubicBezTo>
                <a:close/>
              </a:path>
            </a:pathLst>
          </a:custGeom>
          <a:solidFill>
            <a:schemeClr val="bg1"/>
          </a:solidFill>
          <a:ln>
            <a:noFill/>
          </a:ln>
          <a:effectLst/>
        </p:spPr>
        <p:txBody>
          <a:bodyPr wrap="none" anchor="ctr"/>
          <a:lstStyle/>
          <a:p>
            <a:endParaRPr lang="en-US" sz="6530" dirty="0">
              <a:latin typeface="DM Sans" pitchFamily="2" charset="77"/>
            </a:endParaRPr>
          </a:p>
        </p:txBody>
      </p:sp>
      <p:sp>
        <p:nvSpPr>
          <p:cNvPr id="20" name="Shape 2564">
            <a:extLst>
              <a:ext uri="{FF2B5EF4-FFF2-40B4-BE49-F238E27FC236}">
                <a16:creationId xmlns:a16="http://schemas.microsoft.com/office/drawing/2014/main" id="{7A0BEF65-6776-D6FA-15A6-EB4766AD4F64}"/>
              </a:ext>
            </a:extLst>
          </p:cNvPr>
          <p:cNvSpPr>
            <a:spLocks noChangeAspect="1"/>
          </p:cNvSpPr>
          <p:nvPr/>
        </p:nvSpPr>
        <p:spPr>
          <a:xfrm>
            <a:off x="2355203" y="1605600"/>
            <a:ext cx="444730" cy="444730"/>
          </a:xfrm>
          <a:custGeom>
            <a:avLst/>
            <a:gdLst/>
            <a:ahLst/>
            <a:cxnLst>
              <a:cxn ang="0">
                <a:pos x="wd2" y="hd2"/>
              </a:cxn>
              <a:cxn ang="5400000">
                <a:pos x="wd2" y="hd2"/>
              </a:cxn>
              <a:cxn ang="10800000">
                <a:pos x="wd2" y="hd2"/>
              </a:cxn>
              <a:cxn ang="16200000">
                <a:pos x="wd2" y="hd2"/>
              </a:cxn>
            </a:cxnLst>
            <a:rect l="0" t="0" r="r" b="b"/>
            <a:pathLst>
              <a:path w="21600" h="21600" extrusionOk="0">
                <a:moveTo>
                  <a:pt x="9818" y="10800"/>
                </a:moveTo>
                <a:lnTo>
                  <a:pt x="11782" y="10800"/>
                </a:lnTo>
                <a:lnTo>
                  <a:pt x="11782" y="12764"/>
                </a:lnTo>
                <a:lnTo>
                  <a:pt x="9818" y="12764"/>
                </a:lnTo>
                <a:cubicBezTo>
                  <a:pt x="9818" y="12764"/>
                  <a:pt x="9818" y="10800"/>
                  <a:pt x="9818" y="10800"/>
                </a:cubicBezTo>
                <a:close/>
                <a:moveTo>
                  <a:pt x="9327" y="13745"/>
                </a:moveTo>
                <a:lnTo>
                  <a:pt x="12273" y="13745"/>
                </a:lnTo>
                <a:cubicBezTo>
                  <a:pt x="12544" y="13745"/>
                  <a:pt x="12764" y="13526"/>
                  <a:pt x="12764" y="13255"/>
                </a:cubicBezTo>
                <a:lnTo>
                  <a:pt x="12764" y="10309"/>
                </a:lnTo>
                <a:cubicBezTo>
                  <a:pt x="12764" y="10038"/>
                  <a:pt x="12544" y="9818"/>
                  <a:pt x="12273" y="9818"/>
                </a:cubicBezTo>
                <a:lnTo>
                  <a:pt x="9327" y="9818"/>
                </a:lnTo>
                <a:cubicBezTo>
                  <a:pt x="9056" y="9818"/>
                  <a:pt x="8836" y="10038"/>
                  <a:pt x="8836" y="10309"/>
                </a:cubicBezTo>
                <a:lnTo>
                  <a:pt x="8836" y="13255"/>
                </a:lnTo>
                <a:cubicBezTo>
                  <a:pt x="8836" y="13526"/>
                  <a:pt x="9056" y="13745"/>
                  <a:pt x="9327" y="13745"/>
                </a:cubicBezTo>
                <a:moveTo>
                  <a:pt x="14727" y="15709"/>
                </a:moveTo>
                <a:lnTo>
                  <a:pt x="16691" y="15709"/>
                </a:lnTo>
                <a:lnTo>
                  <a:pt x="16691" y="17673"/>
                </a:lnTo>
                <a:lnTo>
                  <a:pt x="14727" y="17673"/>
                </a:lnTo>
                <a:cubicBezTo>
                  <a:pt x="14727" y="17673"/>
                  <a:pt x="14727" y="15709"/>
                  <a:pt x="14727" y="15709"/>
                </a:cubicBezTo>
                <a:close/>
                <a:moveTo>
                  <a:pt x="14236" y="18655"/>
                </a:moveTo>
                <a:lnTo>
                  <a:pt x="17182" y="18655"/>
                </a:lnTo>
                <a:cubicBezTo>
                  <a:pt x="17453" y="18655"/>
                  <a:pt x="17673" y="18435"/>
                  <a:pt x="17673" y="18164"/>
                </a:cubicBezTo>
                <a:lnTo>
                  <a:pt x="17673" y="15218"/>
                </a:lnTo>
                <a:cubicBezTo>
                  <a:pt x="17673" y="14947"/>
                  <a:pt x="17453" y="14727"/>
                  <a:pt x="17182" y="14727"/>
                </a:cubicBezTo>
                <a:lnTo>
                  <a:pt x="14236" y="14727"/>
                </a:lnTo>
                <a:cubicBezTo>
                  <a:pt x="13965" y="14727"/>
                  <a:pt x="13745" y="14947"/>
                  <a:pt x="13745" y="15218"/>
                </a:cubicBezTo>
                <a:lnTo>
                  <a:pt x="13745" y="18164"/>
                </a:lnTo>
                <a:cubicBezTo>
                  <a:pt x="13745" y="18435"/>
                  <a:pt x="13965" y="18655"/>
                  <a:pt x="14236" y="18655"/>
                </a:cubicBezTo>
                <a:moveTo>
                  <a:pt x="9818" y="5891"/>
                </a:moveTo>
                <a:lnTo>
                  <a:pt x="11782" y="5891"/>
                </a:lnTo>
                <a:lnTo>
                  <a:pt x="11782" y="7855"/>
                </a:lnTo>
                <a:lnTo>
                  <a:pt x="9818" y="7855"/>
                </a:lnTo>
                <a:cubicBezTo>
                  <a:pt x="9818" y="7855"/>
                  <a:pt x="9818" y="5891"/>
                  <a:pt x="9818" y="5891"/>
                </a:cubicBezTo>
                <a:close/>
                <a:moveTo>
                  <a:pt x="9327" y="8836"/>
                </a:moveTo>
                <a:lnTo>
                  <a:pt x="12273" y="8836"/>
                </a:lnTo>
                <a:cubicBezTo>
                  <a:pt x="12544" y="8836"/>
                  <a:pt x="12764" y="8617"/>
                  <a:pt x="12764" y="8345"/>
                </a:cubicBezTo>
                <a:lnTo>
                  <a:pt x="12764" y="5400"/>
                </a:lnTo>
                <a:cubicBezTo>
                  <a:pt x="12764" y="5129"/>
                  <a:pt x="12544" y="4909"/>
                  <a:pt x="12273" y="4909"/>
                </a:cubicBezTo>
                <a:lnTo>
                  <a:pt x="9327" y="4909"/>
                </a:lnTo>
                <a:cubicBezTo>
                  <a:pt x="9056" y="4909"/>
                  <a:pt x="8836" y="5129"/>
                  <a:pt x="8836" y="5400"/>
                </a:cubicBezTo>
                <a:lnTo>
                  <a:pt x="8836" y="8345"/>
                </a:lnTo>
                <a:cubicBezTo>
                  <a:pt x="8836" y="8617"/>
                  <a:pt x="9056" y="8836"/>
                  <a:pt x="9327" y="8836"/>
                </a:cubicBezTo>
                <a:moveTo>
                  <a:pt x="4909" y="15709"/>
                </a:moveTo>
                <a:lnTo>
                  <a:pt x="6873" y="15709"/>
                </a:lnTo>
                <a:lnTo>
                  <a:pt x="6873" y="17673"/>
                </a:lnTo>
                <a:lnTo>
                  <a:pt x="4909" y="17673"/>
                </a:lnTo>
                <a:cubicBezTo>
                  <a:pt x="4909" y="17673"/>
                  <a:pt x="4909" y="15709"/>
                  <a:pt x="4909" y="15709"/>
                </a:cubicBezTo>
                <a:close/>
                <a:moveTo>
                  <a:pt x="4418" y="18655"/>
                </a:moveTo>
                <a:lnTo>
                  <a:pt x="7364" y="18655"/>
                </a:lnTo>
                <a:cubicBezTo>
                  <a:pt x="7635" y="18655"/>
                  <a:pt x="7855" y="18435"/>
                  <a:pt x="7855" y="18164"/>
                </a:cubicBezTo>
                <a:lnTo>
                  <a:pt x="7855" y="15218"/>
                </a:lnTo>
                <a:cubicBezTo>
                  <a:pt x="7855" y="14947"/>
                  <a:pt x="7635" y="14727"/>
                  <a:pt x="7364" y="14727"/>
                </a:cubicBezTo>
                <a:lnTo>
                  <a:pt x="4418" y="14727"/>
                </a:lnTo>
                <a:cubicBezTo>
                  <a:pt x="4147" y="14727"/>
                  <a:pt x="3927" y="14947"/>
                  <a:pt x="3927" y="15218"/>
                </a:cubicBezTo>
                <a:lnTo>
                  <a:pt x="3927" y="18164"/>
                </a:lnTo>
                <a:cubicBezTo>
                  <a:pt x="3927" y="18435"/>
                  <a:pt x="4147" y="18655"/>
                  <a:pt x="4418" y="18655"/>
                </a:cubicBezTo>
                <a:moveTo>
                  <a:pt x="14727" y="10800"/>
                </a:moveTo>
                <a:lnTo>
                  <a:pt x="16691" y="10800"/>
                </a:lnTo>
                <a:lnTo>
                  <a:pt x="16691" y="12764"/>
                </a:lnTo>
                <a:lnTo>
                  <a:pt x="14727" y="12764"/>
                </a:lnTo>
                <a:cubicBezTo>
                  <a:pt x="14727" y="12764"/>
                  <a:pt x="14727" y="10800"/>
                  <a:pt x="14727" y="10800"/>
                </a:cubicBezTo>
                <a:close/>
                <a:moveTo>
                  <a:pt x="14236" y="13745"/>
                </a:moveTo>
                <a:lnTo>
                  <a:pt x="17182" y="13745"/>
                </a:lnTo>
                <a:cubicBezTo>
                  <a:pt x="17453" y="13745"/>
                  <a:pt x="17673" y="13526"/>
                  <a:pt x="17673" y="13255"/>
                </a:cubicBezTo>
                <a:lnTo>
                  <a:pt x="17673" y="10309"/>
                </a:lnTo>
                <a:cubicBezTo>
                  <a:pt x="17673" y="10038"/>
                  <a:pt x="17453" y="9818"/>
                  <a:pt x="17182" y="9818"/>
                </a:cubicBezTo>
                <a:lnTo>
                  <a:pt x="14236" y="9818"/>
                </a:lnTo>
                <a:cubicBezTo>
                  <a:pt x="13965" y="9818"/>
                  <a:pt x="13745" y="10038"/>
                  <a:pt x="13745" y="10309"/>
                </a:cubicBezTo>
                <a:lnTo>
                  <a:pt x="13745" y="13255"/>
                </a:lnTo>
                <a:cubicBezTo>
                  <a:pt x="13745" y="13526"/>
                  <a:pt x="13965" y="13745"/>
                  <a:pt x="14236" y="13745"/>
                </a:cubicBezTo>
                <a:moveTo>
                  <a:pt x="4909" y="10800"/>
                </a:moveTo>
                <a:lnTo>
                  <a:pt x="6873" y="10800"/>
                </a:lnTo>
                <a:lnTo>
                  <a:pt x="6873" y="12764"/>
                </a:lnTo>
                <a:lnTo>
                  <a:pt x="4909" y="12764"/>
                </a:lnTo>
                <a:cubicBezTo>
                  <a:pt x="4909" y="12764"/>
                  <a:pt x="4909" y="10800"/>
                  <a:pt x="4909" y="10800"/>
                </a:cubicBezTo>
                <a:close/>
                <a:moveTo>
                  <a:pt x="4418" y="13745"/>
                </a:moveTo>
                <a:lnTo>
                  <a:pt x="7364" y="13745"/>
                </a:lnTo>
                <a:cubicBezTo>
                  <a:pt x="7635" y="13745"/>
                  <a:pt x="7855" y="13526"/>
                  <a:pt x="7855" y="13255"/>
                </a:cubicBezTo>
                <a:lnTo>
                  <a:pt x="7855" y="10309"/>
                </a:lnTo>
                <a:cubicBezTo>
                  <a:pt x="7855" y="10038"/>
                  <a:pt x="7635" y="9818"/>
                  <a:pt x="7364" y="9818"/>
                </a:cubicBezTo>
                <a:lnTo>
                  <a:pt x="4418" y="9818"/>
                </a:lnTo>
                <a:cubicBezTo>
                  <a:pt x="4147" y="9818"/>
                  <a:pt x="3927" y="10038"/>
                  <a:pt x="3927" y="10309"/>
                </a:cubicBezTo>
                <a:lnTo>
                  <a:pt x="3927" y="13255"/>
                </a:lnTo>
                <a:cubicBezTo>
                  <a:pt x="3927" y="13526"/>
                  <a:pt x="4147" y="13745"/>
                  <a:pt x="4418" y="13745"/>
                </a:cubicBezTo>
                <a:moveTo>
                  <a:pt x="4909" y="5891"/>
                </a:moveTo>
                <a:lnTo>
                  <a:pt x="6873" y="5891"/>
                </a:lnTo>
                <a:lnTo>
                  <a:pt x="6873" y="7855"/>
                </a:lnTo>
                <a:lnTo>
                  <a:pt x="4909" y="7855"/>
                </a:lnTo>
                <a:cubicBezTo>
                  <a:pt x="4909" y="7855"/>
                  <a:pt x="4909" y="5891"/>
                  <a:pt x="4909" y="5891"/>
                </a:cubicBezTo>
                <a:close/>
                <a:moveTo>
                  <a:pt x="4418" y="8836"/>
                </a:moveTo>
                <a:lnTo>
                  <a:pt x="7364" y="8836"/>
                </a:lnTo>
                <a:cubicBezTo>
                  <a:pt x="7635" y="8836"/>
                  <a:pt x="7855" y="8617"/>
                  <a:pt x="7855" y="8345"/>
                </a:cubicBezTo>
                <a:lnTo>
                  <a:pt x="7855" y="5400"/>
                </a:lnTo>
                <a:cubicBezTo>
                  <a:pt x="7855" y="5129"/>
                  <a:pt x="7635" y="4909"/>
                  <a:pt x="7364" y="4909"/>
                </a:cubicBezTo>
                <a:lnTo>
                  <a:pt x="4418" y="4909"/>
                </a:lnTo>
                <a:cubicBezTo>
                  <a:pt x="4147" y="4909"/>
                  <a:pt x="3927" y="5129"/>
                  <a:pt x="3927" y="5400"/>
                </a:cubicBezTo>
                <a:lnTo>
                  <a:pt x="3927" y="8345"/>
                </a:lnTo>
                <a:cubicBezTo>
                  <a:pt x="3927" y="8617"/>
                  <a:pt x="4147" y="8836"/>
                  <a:pt x="4418" y="8836"/>
                </a:cubicBezTo>
                <a:moveTo>
                  <a:pt x="14727" y="5891"/>
                </a:moveTo>
                <a:lnTo>
                  <a:pt x="16691" y="5891"/>
                </a:lnTo>
                <a:lnTo>
                  <a:pt x="16691" y="7855"/>
                </a:lnTo>
                <a:lnTo>
                  <a:pt x="14727" y="7855"/>
                </a:lnTo>
                <a:cubicBezTo>
                  <a:pt x="14727" y="7855"/>
                  <a:pt x="14727" y="5891"/>
                  <a:pt x="14727" y="5891"/>
                </a:cubicBezTo>
                <a:close/>
                <a:moveTo>
                  <a:pt x="14236" y="8836"/>
                </a:moveTo>
                <a:lnTo>
                  <a:pt x="17182" y="8836"/>
                </a:lnTo>
                <a:cubicBezTo>
                  <a:pt x="17453" y="8836"/>
                  <a:pt x="17673" y="8617"/>
                  <a:pt x="17673" y="8345"/>
                </a:cubicBezTo>
                <a:lnTo>
                  <a:pt x="17673" y="5400"/>
                </a:lnTo>
                <a:cubicBezTo>
                  <a:pt x="17673" y="5129"/>
                  <a:pt x="17453" y="4909"/>
                  <a:pt x="17182" y="4909"/>
                </a:cubicBezTo>
                <a:lnTo>
                  <a:pt x="14236" y="4909"/>
                </a:lnTo>
                <a:cubicBezTo>
                  <a:pt x="13965" y="4909"/>
                  <a:pt x="13745" y="5129"/>
                  <a:pt x="13745" y="5400"/>
                </a:cubicBezTo>
                <a:lnTo>
                  <a:pt x="13745" y="8345"/>
                </a:lnTo>
                <a:cubicBezTo>
                  <a:pt x="13745" y="8617"/>
                  <a:pt x="13965" y="8836"/>
                  <a:pt x="14236" y="8836"/>
                </a:cubicBezTo>
                <a:moveTo>
                  <a:pt x="19636" y="1964"/>
                </a:moveTo>
                <a:lnTo>
                  <a:pt x="1964" y="1964"/>
                </a:lnTo>
                <a:lnTo>
                  <a:pt x="1964" y="982"/>
                </a:lnTo>
                <a:lnTo>
                  <a:pt x="19636" y="982"/>
                </a:lnTo>
                <a:cubicBezTo>
                  <a:pt x="19636" y="982"/>
                  <a:pt x="19636" y="1964"/>
                  <a:pt x="19636" y="1964"/>
                </a:cubicBezTo>
                <a:close/>
                <a:moveTo>
                  <a:pt x="19636" y="20618"/>
                </a:moveTo>
                <a:lnTo>
                  <a:pt x="12764" y="20618"/>
                </a:lnTo>
                <a:lnTo>
                  <a:pt x="12764" y="15218"/>
                </a:lnTo>
                <a:cubicBezTo>
                  <a:pt x="12764" y="14947"/>
                  <a:pt x="12544" y="14727"/>
                  <a:pt x="12273" y="14727"/>
                </a:cubicBezTo>
                <a:lnTo>
                  <a:pt x="9327" y="14727"/>
                </a:lnTo>
                <a:cubicBezTo>
                  <a:pt x="9056" y="14727"/>
                  <a:pt x="8836" y="14947"/>
                  <a:pt x="8836" y="15218"/>
                </a:cubicBezTo>
                <a:lnTo>
                  <a:pt x="8836" y="20618"/>
                </a:lnTo>
                <a:lnTo>
                  <a:pt x="1964" y="20618"/>
                </a:lnTo>
                <a:lnTo>
                  <a:pt x="1964" y="2945"/>
                </a:lnTo>
                <a:lnTo>
                  <a:pt x="19636" y="2945"/>
                </a:lnTo>
                <a:cubicBezTo>
                  <a:pt x="19636" y="2945"/>
                  <a:pt x="19636" y="20618"/>
                  <a:pt x="19636" y="20618"/>
                </a:cubicBezTo>
                <a:close/>
                <a:moveTo>
                  <a:pt x="11782" y="20618"/>
                </a:moveTo>
                <a:lnTo>
                  <a:pt x="9818" y="20618"/>
                </a:lnTo>
                <a:lnTo>
                  <a:pt x="9818" y="15709"/>
                </a:lnTo>
                <a:lnTo>
                  <a:pt x="11782" y="15709"/>
                </a:lnTo>
                <a:cubicBezTo>
                  <a:pt x="11782" y="15709"/>
                  <a:pt x="11782" y="20618"/>
                  <a:pt x="11782" y="20618"/>
                </a:cubicBezTo>
                <a:close/>
                <a:moveTo>
                  <a:pt x="21109" y="1964"/>
                </a:moveTo>
                <a:lnTo>
                  <a:pt x="20618" y="1964"/>
                </a:lnTo>
                <a:lnTo>
                  <a:pt x="20618" y="491"/>
                </a:lnTo>
                <a:cubicBezTo>
                  <a:pt x="20618" y="220"/>
                  <a:pt x="20399" y="0"/>
                  <a:pt x="20127" y="0"/>
                </a:cubicBezTo>
                <a:lnTo>
                  <a:pt x="1473" y="0"/>
                </a:lnTo>
                <a:cubicBezTo>
                  <a:pt x="1201" y="0"/>
                  <a:pt x="982" y="220"/>
                  <a:pt x="982" y="491"/>
                </a:cubicBezTo>
                <a:lnTo>
                  <a:pt x="982" y="1964"/>
                </a:lnTo>
                <a:lnTo>
                  <a:pt x="491" y="1964"/>
                </a:lnTo>
                <a:cubicBezTo>
                  <a:pt x="220" y="1964"/>
                  <a:pt x="0" y="2184"/>
                  <a:pt x="0" y="2455"/>
                </a:cubicBezTo>
                <a:cubicBezTo>
                  <a:pt x="0" y="2726"/>
                  <a:pt x="220" y="2945"/>
                  <a:pt x="491" y="2945"/>
                </a:cubicBezTo>
                <a:lnTo>
                  <a:pt x="982" y="2945"/>
                </a:lnTo>
                <a:lnTo>
                  <a:pt x="982" y="21109"/>
                </a:lnTo>
                <a:cubicBezTo>
                  <a:pt x="982" y="21381"/>
                  <a:pt x="1201" y="21600"/>
                  <a:pt x="1473" y="21600"/>
                </a:cubicBezTo>
                <a:lnTo>
                  <a:pt x="20127" y="21600"/>
                </a:lnTo>
                <a:cubicBezTo>
                  <a:pt x="20399" y="21600"/>
                  <a:pt x="20618" y="21381"/>
                  <a:pt x="20618" y="21109"/>
                </a:cubicBezTo>
                <a:lnTo>
                  <a:pt x="20618" y="2945"/>
                </a:lnTo>
                <a:lnTo>
                  <a:pt x="21109" y="2945"/>
                </a:lnTo>
                <a:cubicBezTo>
                  <a:pt x="21380" y="2945"/>
                  <a:pt x="21600" y="2726"/>
                  <a:pt x="21600" y="2455"/>
                </a:cubicBezTo>
                <a:cubicBezTo>
                  <a:pt x="21600" y="2184"/>
                  <a:pt x="21380" y="1964"/>
                  <a:pt x="21109" y="1964"/>
                </a:cubicBezTo>
              </a:path>
            </a:pathLst>
          </a:custGeom>
          <a:solidFill>
            <a:schemeClr val="bg1"/>
          </a:solidFill>
          <a:ln w="12700">
            <a:miter lim="400000"/>
          </a:ln>
        </p:spPr>
        <p:txBody>
          <a:bodyPr lIns="38090" tIns="38090" rIns="38090" bIns="38090" anchor="ctr"/>
          <a:lstStyle/>
          <a:p>
            <a:pPr defTabSz="457063">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dirty="0">
              <a:latin typeface="DM Sans" pitchFamily="2" charset="77"/>
              <a:ea typeface="Open Sans Semibold" charset="0"/>
              <a:cs typeface="Open Sans Semibold" charset="0"/>
            </a:endParaRPr>
          </a:p>
        </p:txBody>
      </p:sp>
      <p:sp>
        <p:nvSpPr>
          <p:cNvPr id="21" name="TextBox 20">
            <a:extLst>
              <a:ext uri="{FF2B5EF4-FFF2-40B4-BE49-F238E27FC236}">
                <a16:creationId xmlns:a16="http://schemas.microsoft.com/office/drawing/2014/main" id="{0361B454-9D7E-CACB-04F7-EE7ECD4FEC9D}"/>
              </a:ext>
            </a:extLst>
          </p:cNvPr>
          <p:cNvSpPr txBox="1"/>
          <p:nvPr/>
        </p:nvSpPr>
        <p:spPr>
          <a:xfrm>
            <a:off x="5802513" y="1756008"/>
            <a:ext cx="476092" cy="1097288"/>
          </a:xfrm>
          <a:prstGeom prst="rect">
            <a:avLst/>
          </a:prstGeom>
          <a:noFill/>
        </p:spPr>
        <p:txBody>
          <a:bodyPr wrap="none" rtlCol="0" anchor="ctr">
            <a:spAutoFit/>
          </a:bodyPr>
          <a:lstStyle/>
          <a:p>
            <a:pPr algn="ctr">
              <a:lnSpc>
                <a:spcPts val="8880"/>
              </a:lnSpc>
            </a:pPr>
            <a:r>
              <a:rPr lang="en-US" sz="4400" b="1" spc="-40" dirty="0">
                <a:solidFill>
                  <a:schemeClr val="accent2"/>
                </a:solidFill>
              </a:rPr>
              <a:t>B</a:t>
            </a:r>
          </a:p>
        </p:txBody>
      </p:sp>
      <p:sp>
        <p:nvSpPr>
          <p:cNvPr id="22" name="TextBox 21">
            <a:extLst>
              <a:ext uri="{FF2B5EF4-FFF2-40B4-BE49-F238E27FC236}">
                <a16:creationId xmlns:a16="http://schemas.microsoft.com/office/drawing/2014/main" id="{C227C7B1-71ED-8758-8F8B-28C54A048202}"/>
              </a:ext>
            </a:extLst>
          </p:cNvPr>
          <p:cNvSpPr txBox="1"/>
          <p:nvPr/>
        </p:nvSpPr>
        <p:spPr>
          <a:xfrm>
            <a:off x="5793921" y="2618599"/>
            <a:ext cx="476092" cy="1097288"/>
          </a:xfrm>
          <a:prstGeom prst="rect">
            <a:avLst/>
          </a:prstGeom>
          <a:noFill/>
        </p:spPr>
        <p:txBody>
          <a:bodyPr wrap="none" rtlCol="0" anchor="ctr">
            <a:spAutoFit/>
          </a:bodyPr>
          <a:lstStyle/>
          <a:p>
            <a:pPr algn="ctr">
              <a:lnSpc>
                <a:spcPts val="8880"/>
              </a:lnSpc>
            </a:pPr>
            <a:r>
              <a:rPr lang="en-US" sz="4400" b="1" spc="-40" dirty="0">
                <a:solidFill>
                  <a:schemeClr val="accent3"/>
                </a:solidFill>
              </a:rPr>
              <a:t>C</a:t>
            </a:r>
          </a:p>
        </p:txBody>
      </p:sp>
      <p:sp>
        <p:nvSpPr>
          <p:cNvPr id="23" name="TextBox 22">
            <a:extLst>
              <a:ext uri="{FF2B5EF4-FFF2-40B4-BE49-F238E27FC236}">
                <a16:creationId xmlns:a16="http://schemas.microsoft.com/office/drawing/2014/main" id="{281ECDE1-1258-25E0-23A6-5162A6C2249F}"/>
              </a:ext>
            </a:extLst>
          </p:cNvPr>
          <p:cNvSpPr txBox="1"/>
          <p:nvPr/>
        </p:nvSpPr>
        <p:spPr>
          <a:xfrm>
            <a:off x="5808857" y="3531283"/>
            <a:ext cx="516167" cy="1097288"/>
          </a:xfrm>
          <a:prstGeom prst="rect">
            <a:avLst/>
          </a:prstGeom>
          <a:noFill/>
        </p:spPr>
        <p:txBody>
          <a:bodyPr wrap="none" rtlCol="0" anchor="ctr">
            <a:spAutoFit/>
          </a:bodyPr>
          <a:lstStyle/>
          <a:p>
            <a:pPr algn="ctr">
              <a:lnSpc>
                <a:spcPts val="8880"/>
              </a:lnSpc>
            </a:pPr>
            <a:r>
              <a:rPr lang="en-US" sz="4400" b="1" spc="-40" dirty="0">
                <a:solidFill>
                  <a:schemeClr val="accent4"/>
                </a:solidFill>
              </a:rPr>
              <a:t>D</a:t>
            </a:r>
          </a:p>
        </p:txBody>
      </p:sp>
      <p:sp>
        <p:nvSpPr>
          <p:cNvPr id="24" name="TextBox 23">
            <a:extLst>
              <a:ext uri="{FF2B5EF4-FFF2-40B4-BE49-F238E27FC236}">
                <a16:creationId xmlns:a16="http://schemas.microsoft.com/office/drawing/2014/main" id="{1A2208F4-A0E9-E550-8878-AE1E95744071}"/>
              </a:ext>
            </a:extLst>
          </p:cNvPr>
          <p:cNvSpPr txBox="1"/>
          <p:nvPr/>
        </p:nvSpPr>
        <p:spPr>
          <a:xfrm>
            <a:off x="5827360" y="4395035"/>
            <a:ext cx="450444" cy="1097288"/>
          </a:xfrm>
          <a:prstGeom prst="rect">
            <a:avLst/>
          </a:prstGeom>
          <a:noFill/>
        </p:spPr>
        <p:txBody>
          <a:bodyPr wrap="none" rtlCol="0" anchor="ctr">
            <a:spAutoFit/>
          </a:bodyPr>
          <a:lstStyle/>
          <a:p>
            <a:pPr algn="ctr">
              <a:lnSpc>
                <a:spcPts val="8880"/>
              </a:lnSpc>
            </a:pPr>
            <a:r>
              <a:rPr lang="en-US" sz="4400" b="1" spc="-40" dirty="0">
                <a:solidFill>
                  <a:schemeClr val="accent5"/>
                </a:solidFill>
              </a:rPr>
              <a:t>E</a:t>
            </a:r>
          </a:p>
        </p:txBody>
      </p:sp>
      <p:sp>
        <p:nvSpPr>
          <p:cNvPr id="25" name="TextBox 24">
            <a:extLst>
              <a:ext uri="{FF2B5EF4-FFF2-40B4-BE49-F238E27FC236}">
                <a16:creationId xmlns:a16="http://schemas.microsoft.com/office/drawing/2014/main" id="{50F4ECE5-185F-D554-A028-2EB786154063}"/>
              </a:ext>
            </a:extLst>
          </p:cNvPr>
          <p:cNvSpPr txBox="1"/>
          <p:nvPr/>
        </p:nvSpPr>
        <p:spPr>
          <a:xfrm>
            <a:off x="6561360" y="1282434"/>
            <a:ext cx="4983506" cy="553998"/>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chemeClr val="accent1"/>
                </a:solidFill>
                <a:effectLst/>
                <a:uLnTx/>
                <a:uFillTx/>
                <a:ea typeface="Open Sans Light" panose="020B0306030504020204" pitchFamily="34" charset="0"/>
                <a:cs typeface="Open Sans Light" panose="020B0306030504020204" pitchFamily="34" charset="0"/>
              </a:rPr>
              <a:t>Helping Ghana’s Ministry of Energy implement an Inventory Management System that allowed the Ministry and its contractors to better track the release of equipment and material to support ongoing electrification projects.</a:t>
            </a:r>
          </a:p>
        </p:txBody>
      </p:sp>
      <p:sp>
        <p:nvSpPr>
          <p:cNvPr id="26" name="TextBox 25">
            <a:extLst>
              <a:ext uri="{FF2B5EF4-FFF2-40B4-BE49-F238E27FC236}">
                <a16:creationId xmlns:a16="http://schemas.microsoft.com/office/drawing/2014/main" id="{6C6E7E23-550A-F32D-81FD-C447310546BD}"/>
              </a:ext>
            </a:extLst>
          </p:cNvPr>
          <p:cNvSpPr txBox="1"/>
          <p:nvPr/>
        </p:nvSpPr>
        <p:spPr>
          <a:xfrm>
            <a:off x="6538260" y="2164910"/>
            <a:ext cx="5102639" cy="738664"/>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chemeClr val="accent2"/>
                </a:solidFill>
                <a:effectLst/>
                <a:uLnTx/>
                <a:uFillTx/>
                <a:ea typeface="Open Sans Light" panose="020B0306030504020204" pitchFamily="34" charset="0"/>
                <a:cs typeface="Open Sans Light" panose="020B0306030504020204" pitchFamily="34" charset="0"/>
              </a:rPr>
              <a:t>Promoting Productive Uses of Electricity in rural farming communities in Northern Ghana through accessing grants for equipment such as solar water pumping systems which helped local agri-businesses to scale up their production and engage more female small-holder farmers in sourcing raw material for processing.</a:t>
            </a:r>
          </a:p>
        </p:txBody>
      </p:sp>
      <p:sp>
        <p:nvSpPr>
          <p:cNvPr id="27" name="TextBox 26">
            <a:extLst>
              <a:ext uri="{FF2B5EF4-FFF2-40B4-BE49-F238E27FC236}">
                <a16:creationId xmlns:a16="http://schemas.microsoft.com/office/drawing/2014/main" id="{BE3EA26D-A00F-4DBA-D09D-63A92175501E}"/>
              </a:ext>
            </a:extLst>
          </p:cNvPr>
          <p:cNvSpPr txBox="1"/>
          <p:nvPr/>
        </p:nvSpPr>
        <p:spPr>
          <a:xfrm>
            <a:off x="6561360" y="3204492"/>
            <a:ext cx="4983506" cy="369332"/>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chemeClr val="accent3"/>
                </a:solidFill>
                <a:effectLst/>
                <a:uLnTx/>
                <a:uFillTx/>
                <a:ea typeface="Open Sans Light" panose="020B0306030504020204" pitchFamily="34" charset="0"/>
                <a:cs typeface="Open Sans Light" panose="020B0306030504020204" pitchFamily="34" charset="0"/>
              </a:rPr>
              <a:t>The Deloitte team’s design and creation of the ready-board tool helped to reduce electrical wiring costs</a:t>
            </a:r>
          </a:p>
        </p:txBody>
      </p:sp>
      <p:sp>
        <p:nvSpPr>
          <p:cNvPr id="28" name="TextBox 27">
            <a:extLst>
              <a:ext uri="{FF2B5EF4-FFF2-40B4-BE49-F238E27FC236}">
                <a16:creationId xmlns:a16="http://schemas.microsoft.com/office/drawing/2014/main" id="{11F56ACB-A7CA-BE28-CA00-2E5C1E499B17}"/>
              </a:ext>
            </a:extLst>
          </p:cNvPr>
          <p:cNvSpPr txBox="1"/>
          <p:nvPr/>
        </p:nvSpPr>
        <p:spPr>
          <a:xfrm>
            <a:off x="6561360" y="4020475"/>
            <a:ext cx="4983506" cy="369332"/>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chemeClr val="accent4"/>
                </a:solidFill>
                <a:effectLst/>
                <a:uLnTx/>
                <a:uFillTx/>
                <a:ea typeface="Open Sans Light" panose="020B0306030504020204" pitchFamily="34" charset="0"/>
                <a:cs typeface="Open Sans Light" panose="020B0306030504020204" pitchFamily="34" charset="0"/>
              </a:rPr>
              <a:t>Ghana’s Energy Commission being enabled to update the country’s long-term Integrated Power Sector Master Plan as a result of support from Deloitte </a:t>
            </a:r>
          </a:p>
        </p:txBody>
      </p:sp>
      <p:sp>
        <p:nvSpPr>
          <p:cNvPr id="29" name="TextBox 28">
            <a:extLst>
              <a:ext uri="{FF2B5EF4-FFF2-40B4-BE49-F238E27FC236}">
                <a16:creationId xmlns:a16="http://schemas.microsoft.com/office/drawing/2014/main" id="{293EF282-054E-8D87-2D9E-9A23C619E5B7}"/>
              </a:ext>
            </a:extLst>
          </p:cNvPr>
          <p:cNvSpPr txBox="1"/>
          <p:nvPr/>
        </p:nvSpPr>
        <p:spPr>
          <a:xfrm>
            <a:off x="6538260" y="4836458"/>
            <a:ext cx="4983506" cy="369332"/>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chemeClr val="accent5"/>
                </a:solidFill>
                <a:effectLst/>
                <a:uLnTx/>
                <a:uFillTx/>
                <a:ea typeface="Open Sans Light" panose="020B0306030504020204" pitchFamily="34" charset="0"/>
                <a:cs typeface="Open Sans Light" panose="020B0306030504020204" pitchFamily="34" charset="0"/>
              </a:rPr>
              <a:t>Providing training and capacity building in project finance principles and techniques to the Volta River Authority’s Projects</a:t>
            </a:r>
          </a:p>
        </p:txBody>
      </p:sp>
      <p:sp>
        <p:nvSpPr>
          <p:cNvPr id="30" name="TextBox 29">
            <a:extLst>
              <a:ext uri="{FF2B5EF4-FFF2-40B4-BE49-F238E27FC236}">
                <a16:creationId xmlns:a16="http://schemas.microsoft.com/office/drawing/2014/main" id="{66963E68-3C88-24E4-9942-8AD7F8658BFA}"/>
              </a:ext>
            </a:extLst>
          </p:cNvPr>
          <p:cNvSpPr txBox="1"/>
          <p:nvPr/>
        </p:nvSpPr>
        <p:spPr>
          <a:xfrm>
            <a:off x="5804474" y="918661"/>
            <a:ext cx="492122" cy="1097288"/>
          </a:xfrm>
          <a:prstGeom prst="rect">
            <a:avLst/>
          </a:prstGeom>
          <a:noFill/>
        </p:spPr>
        <p:txBody>
          <a:bodyPr wrap="none" rtlCol="0" anchor="ctr">
            <a:spAutoFit/>
          </a:bodyPr>
          <a:lstStyle/>
          <a:p>
            <a:pPr algn="ctr">
              <a:lnSpc>
                <a:spcPts val="8880"/>
              </a:lnSpc>
            </a:pPr>
            <a:r>
              <a:rPr lang="en-US" sz="4400" b="1" spc="-40" dirty="0">
                <a:solidFill>
                  <a:schemeClr val="accent1"/>
                </a:solidFill>
              </a:rPr>
              <a:t>A</a:t>
            </a:r>
          </a:p>
        </p:txBody>
      </p:sp>
      <p:sp>
        <p:nvSpPr>
          <p:cNvPr id="31" name="Freeform 75">
            <a:extLst>
              <a:ext uri="{FF2B5EF4-FFF2-40B4-BE49-F238E27FC236}">
                <a16:creationId xmlns:a16="http://schemas.microsoft.com/office/drawing/2014/main" id="{E61AE269-BCBB-681F-9B0F-88F8C347AA9C}"/>
              </a:ext>
            </a:extLst>
          </p:cNvPr>
          <p:cNvSpPr>
            <a:spLocks noChangeArrowheads="1"/>
          </p:cNvSpPr>
          <p:nvPr/>
        </p:nvSpPr>
        <p:spPr bwMode="auto">
          <a:xfrm>
            <a:off x="5667947" y="5594125"/>
            <a:ext cx="745224" cy="646590"/>
          </a:xfrm>
          <a:custGeom>
            <a:avLst/>
            <a:gdLst>
              <a:gd name="T0" fmla="*/ 129147 w 1368"/>
              <a:gd name="T1" fmla="*/ 415506 h 1185"/>
              <a:gd name="T2" fmla="*/ 362618 w 1368"/>
              <a:gd name="T3" fmla="*/ 415506 h 1185"/>
              <a:gd name="T4" fmla="*/ 479174 w 1368"/>
              <a:gd name="T5" fmla="*/ 213339 h 1185"/>
              <a:gd name="T6" fmla="*/ 362618 w 1368"/>
              <a:gd name="T7" fmla="*/ 11171 h 1185"/>
              <a:gd name="T8" fmla="*/ 129147 w 1368"/>
              <a:gd name="T9" fmla="*/ 11171 h 1185"/>
              <a:gd name="T10" fmla="*/ 12591 w 1368"/>
              <a:gd name="T11" fmla="*/ 213339 h 1185"/>
              <a:gd name="T12" fmla="*/ 129147 w 1368"/>
              <a:gd name="T13" fmla="*/ 415506 h 1185"/>
              <a:gd name="T14" fmla="*/ 368734 w 1368"/>
              <a:gd name="T15" fmla="*/ 426678 h 1185"/>
              <a:gd name="T16" fmla="*/ 122672 w 1368"/>
              <a:gd name="T17" fmla="*/ 426678 h 1185"/>
              <a:gd name="T18" fmla="*/ 0 w 1368"/>
              <a:gd name="T19" fmla="*/ 213339 h 1185"/>
              <a:gd name="T20" fmla="*/ 122672 w 1368"/>
              <a:gd name="T21" fmla="*/ 0 h 1185"/>
              <a:gd name="T22" fmla="*/ 368734 w 1368"/>
              <a:gd name="T23" fmla="*/ 0 h 1185"/>
              <a:gd name="T24" fmla="*/ 491765 w 1368"/>
              <a:gd name="T25" fmla="*/ 213339 h 1185"/>
              <a:gd name="T26" fmla="*/ 368734 w 1368"/>
              <a:gd name="T27" fmla="*/ 426678 h 118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368" h="1185">
                <a:moveTo>
                  <a:pt x="359" y="1153"/>
                </a:moveTo>
                <a:lnTo>
                  <a:pt x="1008" y="1153"/>
                </a:lnTo>
                <a:lnTo>
                  <a:pt x="1332" y="592"/>
                </a:lnTo>
                <a:lnTo>
                  <a:pt x="1008" y="31"/>
                </a:lnTo>
                <a:lnTo>
                  <a:pt x="359" y="31"/>
                </a:lnTo>
                <a:lnTo>
                  <a:pt x="35" y="592"/>
                </a:lnTo>
                <a:lnTo>
                  <a:pt x="359" y="1153"/>
                </a:lnTo>
                <a:close/>
                <a:moveTo>
                  <a:pt x="1025" y="1184"/>
                </a:moveTo>
                <a:lnTo>
                  <a:pt x="341" y="1184"/>
                </a:lnTo>
                <a:lnTo>
                  <a:pt x="0" y="592"/>
                </a:lnTo>
                <a:lnTo>
                  <a:pt x="341" y="0"/>
                </a:lnTo>
                <a:lnTo>
                  <a:pt x="1025" y="0"/>
                </a:lnTo>
                <a:lnTo>
                  <a:pt x="1367" y="592"/>
                </a:lnTo>
                <a:lnTo>
                  <a:pt x="1025" y="1184"/>
                </a:lnTo>
                <a:close/>
              </a:path>
            </a:pathLst>
          </a:custGeom>
          <a:solidFill>
            <a:schemeClr val="accent5"/>
          </a:solidFill>
          <a:ln>
            <a:solidFill>
              <a:schemeClr val="accent6"/>
            </a:solidFill>
          </a:ln>
          <a:effectLst/>
        </p:spPr>
        <p:txBody>
          <a:bodyPr wrap="none" anchor="ctr"/>
          <a:lstStyle/>
          <a:p>
            <a:endParaRPr lang="en-US" sz="4400" dirty="0"/>
          </a:p>
        </p:txBody>
      </p:sp>
      <p:sp>
        <p:nvSpPr>
          <p:cNvPr id="32" name="TextBox 31">
            <a:extLst>
              <a:ext uri="{FF2B5EF4-FFF2-40B4-BE49-F238E27FC236}">
                <a16:creationId xmlns:a16="http://schemas.microsoft.com/office/drawing/2014/main" id="{D909F87C-0100-5675-79F4-9346CBC5809F}"/>
              </a:ext>
            </a:extLst>
          </p:cNvPr>
          <p:cNvSpPr txBox="1"/>
          <p:nvPr/>
        </p:nvSpPr>
        <p:spPr>
          <a:xfrm>
            <a:off x="5784957" y="5182561"/>
            <a:ext cx="434414" cy="1097288"/>
          </a:xfrm>
          <a:prstGeom prst="rect">
            <a:avLst/>
          </a:prstGeom>
          <a:noFill/>
        </p:spPr>
        <p:txBody>
          <a:bodyPr wrap="none" rtlCol="0" anchor="ctr">
            <a:spAutoFit/>
          </a:bodyPr>
          <a:lstStyle/>
          <a:p>
            <a:pPr algn="ctr">
              <a:lnSpc>
                <a:spcPts val="8880"/>
              </a:lnSpc>
            </a:pPr>
            <a:r>
              <a:rPr lang="en-US" sz="4400" b="1" spc="-40" dirty="0">
                <a:solidFill>
                  <a:schemeClr val="accent6"/>
                </a:solidFill>
              </a:rPr>
              <a:t>F</a:t>
            </a:r>
          </a:p>
        </p:txBody>
      </p:sp>
      <p:sp>
        <p:nvSpPr>
          <p:cNvPr id="33" name="TextBox 32">
            <a:extLst>
              <a:ext uri="{FF2B5EF4-FFF2-40B4-BE49-F238E27FC236}">
                <a16:creationId xmlns:a16="http://schemas.microsoft.com/office/drawing/2014/main" id="{47A5BF8B-AB1C-E2FF-AF86-514BB37E5AAA}"/>
              </a:ext>
            </a:extLst>
          </p:cNvPr>
          <p:cNvSpPr txBox="1"/>
          <p:nvPr/>
        </p:nvSpPr>
        <p:spPr>
          <a:xfrm>
            <a:off x="6520778" y="5492323"/>
            <a:ext cx="4983506" cy="923330"/>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600"/>
              </a:spcBef>
              <a:spcAft>
                <a:spcPts val="0"/>
              </a:spcAft>
              <a:buClrTx/>
              <a:buSzPct val="100000"/>
              <a:buFontTx/>
              <a:buNone/>
              <a:tabLst/>
              <a:defRPr/>
            </a:pPr>
            <a:r>
              <a:rPr kumimoji="0" lang="en-US" sz="1200" b="1" i="0" u="none" strike="noStrike" kern="1200" cap="none" spc="0" normalizeH="0" baseline="0" noProof="0" dirty="0">
                <a:ln>
                  <a:noFill/>
                </a:ln>
                <a:solidFill>
                  <a:schemeClr val="accent6"/>
                </a:solidFill>
                <a:effectLst/>
                <a:uLnTx/>
                <a:uFillTx/>
                <a:ea typeface="Open Sans Light" panose="020B0306030504020204" pitchFamily="34" charset="0"/>
                <a:cs typeface="Open Sans Light" panose="020B0306030504020204" pitchFamily="34" charset="0"/>
              </a:rPr>
              <a:t>Assisting 20 strategic Ministries, Departments and Agencies to conduct energy audits that provided recommendations for no-and low-cost energy efficiency interventions to reduce energy usage in the facilities, and then followed up with training on energy management techniques at 5 of the MDAs, thus helping to reduce electricity demand. </a:t>
            </a:r>
          </a:p>
        </p:txBody>
      </p:sp>
      <p:sp>
        <p:nvSpPr>
          <p:cNvPr id="35" name="TextBox 34">
            <a:extLst>
              <a:ext uri="{FF2B5EF4-FFF2-40B4-BE49-F238E27FC236}">
                <a16:creationId xmlns:a16="http://schemas.microsoft.com/office/drawing/2014/main" id="{318294C9-6736-D28B-C8ED-E8CCC77BBF07}"/>
              </a:ext>
            </a:extLst>
          </p:cNvPr>
          <p:cNvSpPr txBox="1"/>
          <p:nvPr/>
        </p:nvSpPr>
        <p:spPr>
          <a:xfrm>
            <a:off x="410926" y="649396"/>
            <a:ext cx="11370148" cy="307777"/>
          </a:xfrm>
          <a:prstGeom prst="rect">
            <a:avLst/>
          </a:prstGeom>
          <a:noFill/>
        </p:spPr>
        <p:txBody>
          <a:bodyPr wrap="square">
            <a:spAutoFit/>
          </a:bodyPr>
          <a:lstStyle/>
          <a:p>
            <a:r>
              <a:rPr lang="en-US" sz="1400" dirty="0"/>
              <a:t>For example, as part of the just-ended USAID Power Africa West Africa Energy Program, our team at Deloitte was instrumental in</a:t>
            </a:r>
          </a:p>
        </p:txBody>
      </p:sp>
    </p:spTree>
    <p:extLst>
      <p:ext uri="{BB962C8B-B14F-4D97-AF65-F5344CB8AC3E}">
        <p14:creationId xmlns:p14="http://schemas.microsoft.com/office/powerpoint/2010/main" val="58553068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
            <a:extLst>
              <a:ext uri="{FF2B5EF4-FFF2-40B4-BE49-F238E27FC236}">
                <a16:creationId xmlns:a16="http://schemas.microsoft.com/office/drawing/2014/main" id="{C17B8679-D757-4E67-94BF-048E71DE80B5}"/>
              </a:ext>
            </a:extLst>
          </p:cNvPr>
          <p:cNvSpPr>
            <a:spLocks noGrp="1"/>
          </p:cNvSpPr>
          <p:nvPr>
            <p:ph type="title"/>
          </p:nvPr>
        </p:nvSpPr>
        <p:spPr>
          <a:xfrm>
            <a:off x="501650" y="317500"/>
            <a:ext cx="9163050" cy="334102"/>
          </a:xfrm>
        </p:spPr>
        <p:txBody>
          <a:bodyPr/>
          <a:lstStyle/>
          <a:p>
            <a:r>
              <a:rPr lang="en-US" b="1" noProof="0" dirty="0"/>
              <a:t>Deloitte’s Commitment</a:t>
            </a:r>
          </a:p>
        </p:txBody>
      </p:sp>
      <p:sp>
        <p:nvSpPr>
          <p:cNvPr id="2" name="Rectangle: Rounded Corners 1">
            <a:extLst>
              <a:ext uri="{FF2B5EF4-FFF2-40B4-BE49-F238E27FC236}">
                <a16:creationId xmlns:a16="http://schemas.microsoft.com/office/drawing/2014/main" id="{4ED23DD5-8943-DEE6-E509-5EE3A725C572}"/>
              </a:ext>
            </a:extLst>
          </p:cNvPr>
          <p:cNvSpPr/>
          <p:nvPr/>
        </p:nvSpPr>
        <p:spPr bwMode="gray">
          <a:xfrm>
            <a:off x="653143" y="748937"/>
            <a:ext cx="5069659" cy="5408023"/>
          </a:xfrm>
          <a:prstGeom prst="roundRect">
            <a:avLst/>
          </a:prstGeom>
          <a:solidFill>
            <a:schemeClr val="accent5"/>
          </a:solidFill>
          <a:ln w="19050" algn="ctr">
            <a:solidFill>
              <a:schemeClr val="bg1"/>
            </a:solid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extBox 3">
            <a:extLst>
              <a:ext uri="{FF2B5EF4-FFF2-40B4-BE49-F238E27FC236}">
                <a16:creationId xmlns:a16="http://schemas.microsoft.com/office/drawing/2014/main" id="{003F581C-F309-6452-2B67-66C6E6852B79}"/>
              </a:ext>
            </a:extLst>
          </p:cNvPr>
          <p:cNvSpPr txBox="1"/>
          <p:nvPr/>
        </p:nvSpPr>
        <p:spPr>
          <a:xfrm>
            <a:off x="818606" y="1016000"/>
            <a:ext cx="4904196" cy="4906408"/>
          </a:xfrm>
          <a:prstGeom prst="rect">
            <a:avLst/>
          </a:prstGeom>
          <a:noFill/>
        </p:spPr>
        <p:txBody>
          <a:bodyPr wrap="square">
            <a:spAutoFit/>
          </a:bodyPr>
          <a:lstStyle/>
          <a:p>
            <a:pPr>
              <a:lnSpc>
                <a:spcPct val="150000"/>
              </a:lnSpc>
            </a:pPr>
            <a:r>
              <a:rPr lang="en-US" sz="1400" dirty="0">
                <a:solidFill>
                  <a:schemeClr val="bg1"/>
                </a:solidFill>
              </a:rPr>
              <a:t>These are just a few examples of the capabilities Deloitte’s energy consulting team provide with respect to technical expertise and support to strategic decisions-making, sustainability policies, market and regulatory design, investment decisions, all the while meeting our client’s needs with innovative solutions that provide robust economic prospects, and keeping in mind the need to be at the forefront of the energy transition.</a:t>
            </a:r>
          </a:p>
          <a:p>
            <a:pPr>
              <a:lnSpc>
                <a:spcPct val="150000"/>
              </a:lnSpc>
            </a:pPr>
            <a:r>
              <a:rPr lang="en-US" sz="1400" dirty="0">
                <a:solidFill>
                  <a:schemeClr val="bg1"/>
                </a:solidFill>
              </a:rPr>
              <a:t>In conclusion, the energy sector of Liberia presents a compelling case for private sector investment. The challenges are significant, but so are the opportunities. By leveraging Deloitte’s capabilities and fostering a collaborative approach with development partners and the private sector, we can drive the transformation of Liberia’s energy landscape, powering a brighter and more prosperous future for all.</a:t>
            </a:r>
          </a:p>
          <a:p>
            <a:pPr>
              <a:lnSpc>
                <a:spcPct val="150000"/>
              </a:lnSpc>
            </a:pPr>
            <a:r>
              <a:rPr lang="en-US" sz="1400" dirty="0">
                <a:solidFill>
                  <a:schemeClr val="bg1"/>
                </a:solidFill>
              </a:rPr>
              <a:t>Thank you.</a:t>
            </a:r>
          </a:p>
        </p:txBody>
      </p:sp>
      <p:sp>
        <p:nvSpPr>
          <p:cNvPr id="5" name="Rectangle 4" descr="Firemen in a huddle">
            <a:extLst>
              <a:ext uri="{FF2B5EF4-FFF2-40B4-BE49-F238E27FC236}">
                <a16:creationId xmlns:a16="http://schemas.microsoft.com/office/drawing/2014/main" id="{2E936A8D-25FC-7A98-F5F6-B92B9FD1B7A3}"/>
              </a:ext>
            </a:extLst>
          </p:cNvPr>
          <p:cNvSpPr/>
          <p:nvPr/>
        </p:nvSpPr>
        <p:spPr bwMode="gray">
          <a:xfrm>
            <a:off x="6601096" y="0"/>
            <a:ext cx="5590904" cy="685800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13174485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4990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t>Content</a:t>
            </a:r>
          </a:p>
        </p:txBody>
      </p:sp>
      <p:grpSp>
        <p:nvGrpSpPr>
          <p:cNvPr id="28" name="Group 27"/>
          <p:cNvGrpSpPr/>
          <p:nvPr/>
        </p:nvGrpSpPr>
        <p:grpSpPr>
          <a:xfrm>
            <a:off x="7915275" y="786330"/>
            <a:ext cx="3011944" cy="4980540"/>
            <a:chOff x="7915275" y="786330"/>
            <a:chExt cx="3011944" cy="4980540"/>
          </a:xfrm>
        </p:grpSpPr>
        <p:sp>
          <p:nvSpPr>
            <p:cNvPr id="11" name="Freeform 36">
              <a:extLst>
                <a:ext uri="{FF2B5EF4-FFF2-40B4-BE49-F238E27FC236}">
                  <a16:creationId xmlns:a16="http://schemas.microsoft.com/office/drawing/2014/main" id="{3EE1203B-0DAF-4B6C-B5A1-EB0AFF8C5B23}"/>
                </a:ext>
              </a:extLst>
            </p:cNvPr>
            <p:cNvSpPr/>
            <p:nvPr/>
          </p:nvSpPr>
          <p:spPr bwMode="gray">
            <a:xfrm>
              <a:off x="7915275" y="786330"/>
              <a:ext cx="3011944" cy="4753593"/>
            </a:xfrm>
            <a:custGeom>
              <a:avLst/>
              <a:gdLst>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73050 w 1162050"/>
                <a:gd name="connsiteY26" fmla="*/ 87312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200 w 1162050"/>
                <a:gd name="connsiteY0" fmla="*/ 1890712 h 1890712"/>
                <a:gd name="connsiteX1" fmla="*/ 581025 w 1162050"/>
                <a:gd name="connsiteY1" fmla="*/ 1760537 h 1890712"/>
                <a:gd name="connsiteX2" fmla="*/ 508000 w 1162050"/>
                <a:gd name="connsiteY2" fmla="*/ 1716087 h 1890712"/>
                <a:gd name="connsiteX3" fmla="*/ 474662 w 1162050"/>
                <a:gd name="connsiteY3" fmla="*/ 1676400 h 1890712"/>
                <a:gd name="connsiteX4" fmla="*/ 504825 w 1162050"/>
                <a:gd name="connsiteY4" fmla="*/ 1636712 h 1890712"/>
                <a:gd name="connsiteX5" fmla="*/ 717550 w 1162050"/>
                <a:gd name="connsiteY5" fmla="*/ 1636712 h 1890712"/>
                <a:gd name="connsiteX6" fmla="*/ 746125 w 1162050"/>
                <a:gd name="connsiteY6" fmla="*/ 1589087 h 1890712"/>
                <a:gd name="connsiteX7" fmla="*/ 715962 w 1162050"/>
                <a:gd name="connsiteY7" fmla="*/ 1552575 h 1890712"/>
                <a:gd name="connsiteX8" fmla="*/ 398462 w 1162050"/>
                <a:gd name="connsiteY8" fmla="*/ 1552575 h 1890712"/>
                <a:gd name="connsiteX9" fmla="*/ 360362 w 1162050"/>
                <a:gd name="connsiteY9" fmla="*/ 1514475 h 1890712"/>
                <a:gd name="connsiteX10" fmla="*/ 382587 w 1162050"/>
                <a:gd name="connsiteY10" fmla="*/ 1466850 h 1890712"/>
                <a:gd name="connsiteX11" fmla="*/ 796925 w 1162050"/>
                <a:gd name="connsiteY11" fmla="*/ 1466850 h 1890712"/>
                <a:gd name="connsiteX12" fmla="*/ 830262 w 1162050"/>
                <a:gd name="connsiteY12" fmla="*/ 1419225 h 1890712"/>
                <a:gd name="connsiteX13" fmla="*/ 795337 w 1162050"/>
                <a:gd name="connsiteY13" fmla="*/ 1376362 h 1890712"/>
                <a:gd name="connsiteX14" fmla="*/ 385762 w 1162050"/>
                <a:gd name="connsiteY14" fmla="*/ 1376362 h 1890712"/>
                <a:gd name="connsiteX15" fmla="*/ 322262 w 1162050"/>
                <a:gd name="connsiteY15" fmla="*/ 1344612 h 1890712"/>
                <a:gd name="connsiteX16" fmla="*/ 279400 w 1162050"/>
                <a:gd name="connsiteY16" fmla="*/ 1293812 h 1890712"/>
                <a:gd name="connsiteX17" fmla="*/ 271462 w 1162050"/>
                <a:gd name="connsiteY17" fmla="*/ 1200150 h 1890712"/>
                <a:gd name="connsiteX18" fmla="*/ 260350 w 1162050"/>
                <a:gd name="connsiteY18" fmla="*/ 1120775 h 1890712"/>
                <a:gd name="connsiteX19" fmla="*/ 204787 w 1162050"/>
                <a:gd name="connsiteY19" fmla="*/ 1030287 h 1890712"/>
                <a:gd name="connsiteX20" fmla="*/ 130175 w 1162050"/>
                <a:gd name="connsiteY20" fmla="*/ 947737 h 1890712"/>
                <a:gd name="connsiteX21" fmla="*/ 57150 w 1162050"/>
                <a:gd name="connsiteY21" fmla="*/ 831850 h 1890712"/>
                <a:gd name="connsiteX22" fmla="*/ 20637 w 1162050"/>
                <a:gd name="connsiteY22" fmla="*/ 727075 h 1890712"/>
                <a:gd name="connsiteX23" fmla="*/ 0 w 1162050"/>
                <a:gd name="connsiteY23" fmla="*/ 593725 h 1890712"/>
                <a:gd name="connsiteX24" fmla="*/ 11112 w 1162050"/>
                <a:gd name="connsiteY24" fmla="*/ 468312 h 1890712"/>
                <a:gd name="connsiteX25" fmla="*/ 80962 w 1162050"/>
                <a:gd name="connsiteY25" fmla="*/ 277812 h 1890712"/>
                <a:gd name="connsiteX26" fmla="*/ 265112 w 1162050"/>
                <a:gd name="connsiteY26" fmla="*/ 85724 h 1890712"/>
                <a:gd name="connsiteX27" fmla="*/ 519112 w 1162050"/>
                <a:gd name="connsiteY27" fmla="*/ 0 h 1890712"/>
                <a:gd name="connsiteX28" fmla="*/ 704850 w 1162050"/>
                <a:gd name="connsiteY28" fmla="*/ 3175 h 1890712"/>
                <a:gd name="connsiteX29" fmla="*/ 942975 w 1162050"/>
                <a:gd name="connsiteY29" fmla="*/ 114300 h 1890712"/>
                <a:gd name="connsiteX30" fmla="*/ 1100137 w 1162050"/>
                <a:gd name="connsiteY30" fmla="*/ 303212 h 1890712"/>
                <a:gd name="connsiteX31" fmla="*/ 1162050 w 1162050"/>
                <a:gd name="connsiteY31" fmla="*/ 506412 h 1890712"/>
                <a:gd name="connsiteX32" fmla="*/ 1158875 w 1162050"/>
                <a:gd name="connsiteY32" fmla="*/ 676275 h 1890712"/>
                <a:gd name="connsiteX33" fmla="*/ 1090612 w 1162050"/>
                <a:gd name="connsiteY33" fmla="*/ 882650 h 1890712"/>
                <a:gd name="connsiteX34" fmla="*/ 957262 w 1162050"/>
                <a:gd name="connsiteY34" fmla="*/ 1050925 h 1890712"/>
                <a:gd name="connsiteX35" fmla="*/ 914400 w 1162050"/>
                <a:gd name="connsiteY35" fmla="*/ 1111250 h 1890712"/>
                <a:gd name="connsiteX36" fmla="*/ 904875 w 1162050"/>
                <a:gd name="connsiteY36" fmla="*/ 1168400 h 1890712"/>
                <a:gd name="connsiteX37" fmla="*/ 904875 w 1162050"/>
                <a:gd name="connsiteY37" fmla="*/ 1257300 h 1890712"/>
                <a:gd name="connsiteX38" fmla="*/ 868362 w 1162050"/>
                <a:gd name="connsiteY38" fmla="*/ 1293812 h 1890712"/>
                <a:gd name="connsiteX39" fmla="*/ 641350 w 1162050"/>
                <a:gd name="connsiteY39" fmla="*/ 1293812 h 1890712"/>
                <a:gd name="connsiteX40" fmla="*/ 590550 w 1162050"/>
                <a:gd name="connsiteY40" fmla="*/ 1271587 h 1890712"/>
                <a:gd name="connsiteX41" fmla="*/ 590550 w 1162050"/>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21005 w 1162418"/>
                <a:gd name="connsiteY22" fmla="*/ 727075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7518 w 1162418"/>
                <a:gd name="connsiteY21" fmla="*/ 831850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79768 w 1162418"/>
                <a:gd name="connsiteY16" fmla="*/ 129381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0712 h 1890712"/>
                <a:gd name="connsiteX1" fmla="*/ 581393 w 1162418"/>
                <a:gd name="connsiteY1" fmla="*/ 1760537 h 1890712"/>
                <a:gd name="connsiteX2" fmla="*/ 508368 w 1162418"/>
                <a:gd name="connsiteY2" fmla="*/ 1716087 h 1890712"/>
                <a:gd name="connsiteX3" fmla="*/ 475030 w 1162418"/>
                <a:gd name="connsiteY3" fmla="*/ 1676400 h 1890712"/>
                <a:gd name="connsiteX4" fmla="*/ 505193 w 1162418"/>
                <a:gd name="connsiteY4" fmla="*/ 1636712 h 1890712"/>
                <a:gd name="connsiteX5" fmla="*/ 717918 w 1162418"/>
                <a:gd name="connsiteY5" fmla="*/ 1636712 h 1890712"/>
                <a:gd name="connsiteX6" fmla="*/ 746493 w 1162418"/>
                <a:gd name="connsiteY6" fmla="*/ 1589087 h 1890712"/>
                <a:gd name="connsiteX7" fmla="*/ 716330 w 1162418"/>
                <a:gd name="connsiteY7" fmla="*/ 1552575 h 1890712"/>
                <a:gd name="connsiteX8" fmla="*/ 398830 w 1162418"/>
                <a:gd name="connsiteY8" fmla="*/ 1552575 h 1890712"/>
                <a:gd name="connsiteX9" fmla="*/ 360730 w 1162418"/>
                <a:gd name="connsiteY9" fmla="*/ 1514475 h 1890712"/>
                <a:gd name="connsiteX10" fmla="*/ 382955 w 1162418"/>
                <a:gd name="connsiteY10" fmla="*/ 1466850 h 1890712"/>
                <a:gd name="connsiteX11" fmla="*/ 797293 w 1162418"/>
                <a:gd name="connsiteY11" fmla="*/ 1466850 h 1890712"/>
                <a:gd name="connsiteX12" fmla="*/ 830630 w 1162418"/>
                <a:gd name="connsiteY12" fmla="*/ 1419225 h 1890712"/>
                <a:gd name="connsiteX13" fmla="*/ 795705 w 1162418"/>
                <a:gd name="connsiteY13" fmla="*/ 1376362 h 1890712"/>
                <a:gd name="connsiteX14" fmla="*/ 386130 w 1162418"/>
                <a:gd name="connsiteY14" fmla="*/ 1376362 h 1890712"/>
                <a:gd name="connsiteX15" fmla="*/ 322630 w 1162418"/>
                <a:gd name="connsiteY15" fmla="*/ 1344612 h 1890712"/>
                <a:gd name="connsiteX16" fmla="*/ 283340 w 1162418"/>
                <a:gd name="connsiteY16" fmla="*/ 1292622 h 1890712"/>
                <a:gd name="connsiteX17" fmla="*/ 271830 w 1162418"/>
                <a:gd name="connsiteY17" fmla="*/ 1200150 h 1890712"/>
                <a:gd name="connsiteX18" fmla="*/ 260718 w 1162418"/>
                <a:gd name="connsiteY18" fmla="*/ 1120775 h 1890712"/>
                <a:gd name="connsiteX19" fmla="*/ 205155 w 1162418"/>
                <a:gd name="connsiteY19" fmla="*/ 1030287 h 1890712"/>
                <a:gd name="connsiteX20" fmla="*/ 130543 w 1162418"/>
                <a:gd name="connsiteY20" fmla="*/ 947737 h 1890712"/>
                <a:gd name="connsiteX21" fmla="*/ 55137 w 1162418"/>
                <a:gd name="connsiteY21" fmla="*/ 837803 h 1890712"/>
                <a:gd name="connsiteX22" fmla="*/ 13861 w 1162418"/>
                <a:gd name="connsiteY22" fmla="*/ 728266 h 1890712"/>
                <a:gd name="connsiteX23" fmla="*/ 368 w 1162418"/>
                <a:gd name="connsiteY23" fmla="*/ 593725 h 1890712"/>
                <a:gd name="connsiteX24" fmla="*/ 11480 w 1162418"/>
                <a:gd name="connsiteY24" fmla="*/ 468312 h 1890712"/>
                <a:gd name="connsiteX25" fmla="*/ 81330 w 1162418"/>
                <a:gd name="connsiteY25" fmla="*/ 277812 h 1890712"/>
                <a:gd name="connsiteX26" fmla="*/ 265480 w 1162418"/>
                <a:gd name="connsiteY26" fmla="*/ 85724 h 1890712"/>
                <a:gd name="connsiteX27" fmla="*/ 519480 w 1162418"/>
                <a:gd name="connsiteY27" fmla="*/ 0 h 1890712"/>
                <a:gd name="connsiteX28" fmla="*/ 705218 w 1162418"/>
                <a:gd name="connsiteY28" fmla="*/ 3175 h 1890712"/>
                <a:gd name="connsiteX29" fmla="*/ 943343 w 1162418"/>
                <a:gd name="connsiteY29" fmla="*/ 114300 h 1890712"/>
                <a:gd name="connsiteX30" fmla="*/ 1100505 w 1162418"/>
                <a:gd name="connsiteY30" fmla="*/ 303212 h 1890712"/>
                <a:gd name="connsiteX31" fmla="*/ 1162418 w 1162418"/>
                <a:gd name="connsiteY31" fmla="*/ 506412 h 1890712"/>
                <a:gd name="connsiteX32" fmla="*/ 1159243 w 1162418"/>
                <a:gd name="connsiteY32" fmla="*/ 676275 h 1890712"/>
                <a:gd name="connsiteX33" fmla="*/ 1090980 w 1162418"/>
                <a:gd name="connsiteY33" fmla="*/ 882650 h 1890712"/>
                <a:gd name="connsiteX34" fmla="*/ 957630 w 1162418"/>
                <a:gd name="connsiteY34" fmla="*/ 1050925 h 1890712"/>
                <a:gd name="connsiteX35" fmla="*/ 914768 w 1162418"/>
                <a:gd name="connsiteY35" fmla="*/ 1111250 h 1890712"/>
                <a:gd name="connsiteX36" fmla="*/ 905243 w 1162418"/>
                <a:gd name="connsiteY36" fmla="*/ 1168400 h 1890712"/>
                <a:gd name="connsiteX37" fmla="*/ 905243 w 1162418"/>
                <a:gd name="connsiteY37" fmla="*/ 1257300 h 1890712"/>
                <a:gd name="connsiteX38" fmla="*/ 868730 w 1162418"/>
                <a:gd name="connsiteY38" fmla="*/ 1293812 h 1890712"/>
                <a:gd name="connsiteX39" fmla="*/ 641718 w 1162418"/>
                <a:gd name="connsiteY39" fmla="*/ 1293812 h 1890712"/>
                <a:gd name="connsiteX40" fmla="*/ 590918 w 1162418"/>
                <a:gd name="connsiteY40" fmla="*/ 1271587 h 1890712"/>
                <a:gd name="connsiteX41" fmla="*/ 590918 w 1162418"/>
                <a:gd name="connsiteY41" fmla="*/ 1204912 h 1890712"/>
                <a:gd name="connsiteX0" fmla="*/ 584568 w 1162418"/>
                <a:gd name="connsiteY0" fmla="*/ 1892938 h 1892938"/>
                <a:gd name="connsiteX1" fmla="*/ 581393 w 1162418"/>
                <a:gd name="connsiteY1" fmla="*/ 1762763 h 1892938"/>
                <a:gd name="connsiteX2" fmla="*/ 508368 w 1162418"/>
                <a:gd name="connsiteY2" fmla="*/ 1718313 h 1892938"/>
                <a:gd name="connsiteX3" fmla="*/ 475030 w 1162418"/>
                <a:gd name="connsiteY3" fmla="*/ 1678626 h 1892938"/>
                <a:gd name="connsiteX4" fmla="*/ 505193 w 1162418"/>
                <a:gd name="connsiteY4" fmla="*/ 1638938 h 1892938"/>
                <a:gd name="connsiteX5" fmla="*/ 717918 w 1162418"/>
                <a:gd name="connsiteY5" fmla="*/ 1638938 h 1892938"/>
                <a:gd name="connsiteX6" fmla="*/ 746493 w 1162418"/>
                <a:gd name="connsiteY6" fmla="*/ 1591313 h 1892938"/>
                <a:gd name="connsiteX7" fmla="*/ 716330 w 1162418"/>
                <a:gd name="connsiteY7" fmla="*/ 1554801 h 1892938"/>
                <a:gd name="connsiteX8" fmla="*/ 398830 w 1162418"/>
                <a:gd name="connsiteY8" fmla="*/ 1554801 h 1892938"/>
                <a:gd name="connsiteX9" fmla="*/ 360730 w 1162418"/>
                <a:gd name="connsiteY9" fmla="*/ 1516701 h 1892938"/>
                <a:gd name="connsiteX10" fmla="*/ 382955 w 1162418"/>
                <a:gd name="connsiteY10" fmla="*/ 1469076 h 1892938"/>
                <a:gd name="connsiteX11" fmla="*/ 797293 w 1162418"/>
                <a:gd name="connsiteY11" fmla="*/ 1469076 h 1892938"/>
                <a:gd name="connsiteX12" fmla="*/ 830630 w 1162418"/>
                <a:gd name="connsiteY12" fmla="*/ 1421451 h 1892938"/>
                <a:gd name="connsiteX13" fmla="*/ 795705 w 1162418"/>
                <a:gd name="connsiteY13" fmla="*/ 1378588 h 1892938"/>
                <a:gd name="connsiteX14" fmla="*/ 386130 w 1162418"/>
                <a:gd name="connsiteY14" fmla="*/ 1378588 h 1892938"/>
                <a:gd name="connsiteX15" fmla="*/ 322630 w 1162418"/>
                <a:gd name="connsiteY15" fmla="*/ 1346838 h 1892938"/>
                <a:gd name="connsiteX16" fmla="*/ 283340 w 1162418"/>
                <a:gd name="connsiteY16" fmla="*/ 1294848 h 1892938"/>
                <a:gd name="connsiteX17" fmla="*/ 271830 w 1162418"/>
                <a:gd name="connsiteY17" fmla="*/ 1202376 h 1892938"/>
                <a:gd name="connsiteX18" fmla="*/ 260718 w 1162418"/>
                <a:gd name="connsiteY18" fmla="*/ 1123001 h 1892938"/>
                <a:gd name="connsiteX19" fmla="*/ 205155 w 1162418"/>
                <a:gd name="connsiteY19" fmla="*/ 1032513 h 1892938"/>
                <a:gd name="connsiteX20" fmla="*/ 130543 w 1162418"/>
                <a:gd name="connsiteY20" fmla="*/ 949963 h 1892938"/>
                <a:gd name="connsiteX21" fmla="*/ 55137 w 1162418"/>
                <a:gd name="connsiteY21" fmla="*/ 840029 h 1892938"/>
                <a:gd name="connsiteX22" fmla="*/ 13861 w 1162418"/>
                <a:gd name="connsiteY22" fmla="*/ 730492 h 1892938"/>
                <a:gd name="connsiteX23" fmla="*/ 368 w 1162418"/>
                <a:gd name="connsiteY23" fmla="*/ 595951 h 1892938"/>
                <a:gd name="connsiteX24" fmla="*/ 11480 w 1162418"/>
                <a:gd name="connsiteY24" fmla="*/ 470538 h 1892938"/>
                <a:gd name="connsiteX25" fmla="*/ 81330 w 1162418"/>
                <a:gd name="connsiteY25" fmla="*/ 280038 h 1892938"/>
                <a:gd name="connsiteX26" fmla="*/ 265480 w 1162418"/>
                <a:gd name="connsiteY26" fmla="*/ 87950 h 1892938"/>
                <a:gd name="connsiteX27" fmla="*/ 519480 w 1162418"/>
                <a:gd name="connsiteY27" fmla="*/ 2226 h 1892938"/>
                <a:gd name="connsiteX28" fmla="*/ 705218 w 1162418"/>
                <a:gd name="connsiteY28" fmla="*/ 5401 h 1892938"/>
                <a:gd name="connsiteX29" fmla="*/ 943343 w 1162418"/>
                <a:gd name="connsiteY29" fmla="*/ 116526 h 1892938"/>
                <a:gd name="connsiteX30" fmla="*/ 1100505 w 1162418"/>
                <a:gd name="connsiteY30" fmla="*/ 305438 h 1892938"/>
                <a:gd name="connsiteX31" fmla="*/ 1162418 w 1162418"/>
                <a:gd name="connsiteY31" fmla="*/ 508638 h 1892938"/>
                <a:gd name="connsiteX32" fmla="*/ 1159243 w 1162418"/>
                <a:gd name="connsiteY32" fmla="*/ 678501 h 1892938"/>
                <a:gd name="connsiteX33" fmla="*/ 1090980 w 1162418"/>
                <a:gd name="connsiteY33" fmla="*/ 884876 h 1892938"/>
                <a:gd name="connsiteX34" fmla="*/ 957630 w 1162418"/>
                <a:gd name="connsiteY34" fmla="*/ 1053151 h 1892938"/>
                <a:gd name="connsiteX35" fmla="*/ 914768 w 1162418"/>
                <a:gd name="connsiteY35" fmla="*/ 1113476 h 1892938"/>
                <a:gd name="connsiteX36" fmla="*/ 905243 w 1162418"/>
                <a:gd name="connsiteY36" fmla="*/ 1170626 h 1892938"/>
                <a:gd name="connsiteX37" fmla="*/ 905243 w 1162418"/>
                <a:gd name="connsiteY37" fmla="*/ 1259526 h 1892938"/>
                <a:gd name="connsiteX38" fmla="*/ 868730 w 1162418"/>
                <a:gd name="connsiteY38" fmla="*/ 1296038 h 1892938"/>
                <a:gd name="connsiteX39" fmla="*/ 641718 w 1162418"/>
                <a:gd name="connsiteY39" fmla="*/ 1296038 h 1892938"/>
                <a:gd name="connsiteX40" fmla="*/ 590918 w 1162418"/>
                <a:gd name="connsiteY40" fmla="*/ 1273813 h 1892938"/>
                <a:gd name="connsiteX41" fmla="*/ 590918 w 1162418"/>
                <a:gd name="connsiteY41" fmla="*/ 1207138 h 1892938"/>
                <a:gd name="connsiteX0" fmla="*/ 584568 w 1162418"/>
                <a:gd name="connsiteY0" fmla="*/ 1895823 h 1895823"/>
                <a:gd name="connsiteX1" fmla="*/ 581393 w 1162418"/>
                <a:gd name="connsiteY1" fmla="*/ 1765648 h 1895823"/>
                <a:gd name="connsiteX2" fmla="*/ 508368 w 1162418"/>
                <a:gd name="connsiteY2" fmla="*/ 1721198 h 1895823"/>
                <a:gd name="connsiteX3" fmla="*/ 475030 w 1162418"/>
                <a:gd name="connsiteY3" fmla="*/ 1681511 h 1895823"/>
                <a:gd name="connsiteX4" fmla="*/ 505193 w 1162418"/>
                <a:gd name="connsiteY4" fmla="*/ 1641823 h 1895823"/>
                <a:gd name="connsiteX5" fmla="*/ 717918 w 1162418"/>
                <a:gd name="connsiteY5" fmla="*/ 1641823 h 1895823"/>
                <a:gd name="connsiteX6" fmla="*/ 746493 w 1162418"/>
                <a:gd name="connsiteY6" fmla="*/ 1594198 h 1895823"/>
                <a:gd name="connsiteX7" fmla="*/ 716330 w 1162418"/>
                <a:gd name="connsiteY7" fmla="*/ 1557686 h 1895823"/>
                <a:gd name="connsiteX8" fmla="*/ 398830 w 1162418"/>
                <a:gd name="connsiteY8" fmla="*/ 1557686 h 1895823"/>
                <a:gd name="connsiteX9" fmla="*/ 360730 w 1162418"/>
                <a:gd name="connsiteY9" fmla="*/ 1519586 h 1895823"/>
                <a:gd name="connsiteX10" fmla="*/ 382955 w 1162418"/>
                <a:gd name="connsiteY10" fmla="*/ 1471961 h 1895823"/>
                <a:gd name="connsiteX11" fmla="*/ 797293 w 1162418"/>
                <a:gd name="connsiteY11" fmla="*/ 1471961 h 1895823"/>
                <a:gd name="connsiteX12" fmla="*/ 830630 w 1162418"/>
                <a:gd name="connsiteY12" fmla="*/ 1424336 h 1895823"/>
                <a:gd name="connsiteX13" fmla="*/ 795705 w 1162418"/>
                <a:gd name="connsiteY13" fmla="*/ 1381473 h 1895823"/>
                <a:gd name="connsiteX14" fmla="*/ 386130 w 1162418"/>
                <a:gd name="connsiteY14" fmla="*/ 1381473 h 1895823"/>
                <a:gd name="connsiteX15" fmla="*/ 322630 w 1162418"/>
                <a:gd name="connsiteY15" fmla="*/ 1349723 h 1895823"/>
                <a:gd name="connsiteX16" fmla="*/ 283340 w 1162418"/>
                <a:gd name="connsiteY16" fmla="*/ 1297733 h 1895823"/>
                <a:gd name="connsiteX17" fmla="*/ 271830 w 1162418"/>
                <a:gd name="connsiteY17" fmla="*/ 1205261 h 1895823"/>
                <a:gd name="connsiteX18" fmla="*/ 260718 w 1162418"/>
                <a:gd name="connsiteY18" fmla="*/ 1125886 h 1895823"/>
                <a:gd name="connsiteX19" fmla="*/ 205155 w 1162418"/>
                <a:gd name="connsiteY19" fmla="*/ 1035398 h 1895823"/>
                <a:gd name="connsiteX20" fmla="*/ 130543 w 1162418"/>
                <a:gd name="connsiteY20" fmla="*/ 952848 h 1895823"/>
                <a:gd name="connsiteX21" fmla="*/ 55137 w 1162418"/>
                <a:gd name="connsiteY21" fmla="*/ 842914 h 1895823"/>
                <a:gd name="connsiteX22" fmla="*/ 13861 w 1162418"/>
                <a:gd name="connsiteY22" fmla="*/ 733377 h 1895823"/>
                <a:gd name="connsiteX23" fmla="*/ 368 w 1162418"/>
                <a:gd name="connsiteY23" fmla="*/ 598836 h 1895823"/>
                <a:gd name="connsiteX24" fmla="*/ 11480 w 1162418"/>
                <a:gd name="connsiteY24" fmla="*/ 473423 h 1895823"/>
                <a:gd name="connsiteX25" fmla="*/ 81330 w 1162418"/>
                <a:gd name="connsiteY25" fmla="*/ 282923 h 1895823"/>
                <a:gd name="connsiteX26" fmla="*/ 265480 w 1162418"/>
                <a:gd name="connsiteY26" fmla="*/ 90835 h 1895823"/>
                <a:gd name="connsiteX27" fmla="*/ 519480 w 1162418"/>
                <a:gd name="connsiteY27" fmla="*/ 5111 h 1895823"/>
                <a:gd name="connsiteX28" fmla="*/ 705218 w 1162418"/>
                <a:gd name="connsiteY28" fmla="*/ 8286 h 1895823"/>
                <a:gd name="connsiteX29" fmla="*/ 943343 w 1162418"/>
                <a:gd name="connsiteY29" fmla="*/ 119411 h 1895823"/>
                <a:gd name="connsiteX30" fmla="*/ 1100505 w 1162418"/>
                <a:gd name="connsiteY30" fmla="*/ 308323 h 1895823"/>
                <a:gd name="connsiteX31" fmla="*/ 1162418 w 1162418"/>
                <a:gd name="connsiteY31" fmla="*/ 511523 h 1895823"/>
                <a:gd name="connsiteX32" fmla="*/ 1159243 w 1162418"/>
                <a:gd name="connsiteY32" fmla="*/ 681386 h 1895823"/>
                <a:gd name="connsiteX33" fmla="*/ 1090980 w 1162418"/>
                <a:gd name="connsiteY33" fmla="*/ 887761 h 1895823"/>
                <a:gd name="connsiteX34" fmla="*/ 957630 w 1162418"/>
                <a:gd name="connsiteY34" fmla="*/ 1056036 h 1895823"/>
                <a:gd name="connsiteX35" fmla="*/ 914768 w 1162418"/>
                <a:gd name="connsiteY35" fmla="*/ 1116361 h 1895823"/>
                <a:gd name="connsiteX36" fmla="*/ 905243 w 1162418"/>
                <a:gd name="connsiteY36" fmla="*/ 1173511 h 1895823"/>
                <a:gd name="connsiteX37" fmla="*/ 905243 w 1162418"/>
                <a:gd name="connsiteY37" fmla="*/ 1262411 h 1895823"/>
                <a:gd name="connsiteX38" fmla="*/ 868730 w 1162418"/>
                <a:gd name="connsiteY38" fmla="*/ 1298923 h 1895823"/>
                <a:gd name="connsiteX39" fmla="*/ 641718 w 1162418"/>
                <a:gd name="connsiteY39" fmla="*/ 1298923 h 1895823"/>
                <a:gd name="connsiteX40" fmla="*/ 590918 w 1162418"/>
                <a:gd name="connsiteY40" fmla="*/ 1276698 h 1895823"/>
                <a:gd name="connsiteX41" fmla="*/ 590918 w 1162418"/>
                <a:gd name="connsiteY41" fmla="*/ 1210023 h 1895823"/>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7931 h 1897931"/>
                <a:gd name="connsiteX1" fmla="*/ 581393 w 1162418"/>
                <a:gd name="connsiteY1" fmla="*/ 1767756 h 1897931"/>
                <a:gd name="connsiteX2" fmla="*/ 508368 w 1162418"/>
                <a:gd name="connsiteY2" fmla="*/ 1723306 h 1897931"/>
                <a:gd name="connsiteX3" fmla="*/ 475030 w 1162418"/>
                <a:gd name="connsiteY3" fmla="*/ 1683619 h 1897931"/>
                <a:gd name="connsiteX4" fmla="*/ 505193 w 1162418"/>
                <a:gd name="connsiteY4" fmla="*/ 1643931 h 1897931"/>
                <a:gd name="connsiteX5" fmla="*/ 717918 w 1162418"/>
                <a:gd name="connsiteY5" fmla="*/ 1643931 h 1897931"/>
                <a:gd name="connsiteX6" fmla="*/ 746493 w 1162418"/>
                <a:gd name="connsiteY6" fmla="*/ 1596306 h 1897931"/>
                <a:gd name="connsiteX7" fmla="*/ 716330 w 1162418"/>
                <a:gd name="connsiteY7" fmla="*/ 1559794 h 1897931"/>
                <a:gd name="connsiteX8" fmla="*/ 398830 w 1162418"/>
                <a:gd name="connsiteY8" fmla="*/ 1559794 h 1897931"/>
                <a:gd name="connsiteX9" fmla="*/ 360730 w 1162418"/>
                <a:gd name="connsiteY9" fmla="*/ 1521694 h 1897931"/>
                <a:gd name="connsiteX10" fmla="*/ 382955 w 1162418"/>
                <a:gd name="connsiteY10" fmla="*/ 1474069 h 1897931"/>
                <a:gd name="connsiteX11" fmla="*/ 797293 w 1162418"/>
                <a:gd name="connsiteY11" fmla="*/ 1474069 h 1897931"/>
                <a:gd name="connsiteX12" fmla="*/ 830630 w 1162418"/>
                <a:gd name="connsiteY12" fmla="*/ 1426444 h 1897931"/>
                <a:gd name="connsiteX13" fmla="*/ 795705 w 1162418"/>
                <a:gd name="connsiteY13" fmla="*/ 1383581 h 1897931"/>
                <a:gd name="connsiteX14" fmla="*/ 386130 w 1162418"/>
                <a:gd name="connsiteY14" fmla="*/ 1383581 h 1897931"/>
                <a:gd name="connsiteX15" fmla="*/ 322630 w 1162418"/>
                <a:gd name="connsiteY15" fmla="*/ 1351831 h 1897931"/>
                <a:gd name="connsiteX16" fmla="*/ 283340 w 1162418"/>
                <a:gd name="connsiteY16" fmla="*/ 1299841 h 1897931"/>
                <a:gd name="connsiteX17" fmla="*/ 271830 w 1162418"/>
                <a:gd name="connsiteY17" fmla="*/ 1207369 h 1897931"/>
                <a:gd name="connsiteX18" fmla="*/ 260718 w 1162418"/>
                <a:gd name="connsiteY18" fmla="*/ 1127994 h 1897931"/>
                <a:gd name="connsiteX19" fmla="*/ 205155 w 1162418"/>
                <a:gd name="connsiteY19" fmla="*/ 1037506 h 1897931"/>
                <a:gd name="connsiteX20" fmla="*/ 130543 w 1162418"/>
                <a:gd name="connsiteY20" fmla="*/ 954956 h 1897931"/>
                <a:gd name="connsiteX21" fmla="*/ 55137 w 1162418"/>
                <a:gd name="connsiteY21" fmla="*/ 845022 h 1897931"/>
                <a:gd name="connsiteX22" fmla="*/ 13861 w 1162418"/>
                <a:gd name="connsiteY22" fmla="*/ 735485 h 1897931"/>
                <a:gd name="connsiteX23" fmla="*/ 368 w 1162418"/>
                <a:gd name="connsiteY23" fmla="*/ 600944 h 1897931"/>
                <a:gd name="connsiteX24" fmla="*/ 11480 w 1162418"/>
                <a:gd name="connsiteY24" fmla="*/ 475531 h 1897931"/>
                <a:gd name="connsiteX25" fmla="*/ 81330 w 1162418"/>
                <a:gd name="connsiteY25" fmla="*/ 285031 h 1897931"/>
                <a:gd name="connsiteX26" fmla="*/ 265480 w 1162418"/>
                <a:gd name="connsiteY26" fmla="*/ 92943 h 1897931"/>
                <a:gd name="connsiteX27" fmla="*/ 519480 w 1162418"/>
                <a:gd name="connsiteY27" fmla="*/ 3648 h 1897931"/>
                <a:gd name="connsiteX28" fmla="*/ 705218 w 1162418"/>
                <a:gd name="connsiteY28" fmla="*/ 10394 h 1897931"/>
                <a:gd name="connsiteX29" fmla="*/ 943343 w 1162418"/>
                <a:gd name="connsiteY29" fmla="*/ 121519 h 1897931"/>
                <a:gd name="connsiteX30" fmla="*/ 1100505 w 1162418"/>
                <a:gd name="connsiteY30" fmla="*/ 310431 h 1897931"/>
                <a:gd name="connsiteX31" fmla="*/ 1162418 w 1162418"/>
                <a:gd name="connsiteY31" fmla="*/ 513631 h 1897931"/>
                <a:gd name="connsiteX32" fmla="*/ 1159243 w 1162418"/>
                <a:gd name="connsiteY32" fmla="*/ 683494 h 1897931"/>
                <a:gd name="connsiteX33" fmla="*/ 1090980 w 1162418"/>
                <a:gd name="connsiteY33" fmla="*/ 889869 h 1897931"/>
                <a:gd name="connsiteX34" fmla="*/ 957630 w 1162418"/>
                <a:gd name="connsiteY34" fmla="*/ 1058144 h 1897931"/>
                <a:gd name="connsiteX35" fmla="*/ 914768 w 1162418"/>
                <a:gd name="connsiteY35" fmla="*/ 1118469 h 1897931"/>
                <a:gd name="connsiteX36" fmla="*/ 905243 w 1162418"/>
                <a:gd name="connsiteY36" fmla="*/ 1175619 h 1897931"/>
                <a:gd name="connsiteX37" fmla="*/ 905243 w 1162418"/>
                <a:gd name="connsiteY37" fmla="*/ 1264519 h 1897931"/>
                <a:gd name="connsiteX38" fmla="*/ 868730 w 1162418"/>
                <a:gd name="connsiteY38" fmla="*/ 1301031 h 1897931"/>
                <a:gd name="connsiteX39" fmla="*/ 641718 w 1162418"/>
                <a:gd name="connsiteY39" fmla="*/ 1301031 h 1897931"/>
                <a:gd name="connsiteX40" fmla="*/ 590918 w 1162418"/>
                <a:gd name="connsiteY40" fmla="*/ 1278806 h 1897931"/>
                <a:gd name="connsiteX41" fmla="*/ 590918 w 1162418"/>
                <a:gd name="connsiteY41" fmla="*/ 1212131 h 1897931"/>
                <a:gd name="connsiteX0" fmla="*/ 584568 w 1162418"/>
                <a:gd name="connsiteY0" fmla="*/ 1894283 h 1894283"/>
                <a:gd name="connsiteX1" fmla="*/ 581393 w 1162418"/>
                <a:gd name="connsiteY1" fmla="*/ 1764108 h 1894283"/>
                <a:gd name="connsiteX2" fmla="*/ 508368 w 1162418"/>
                <a:gd name="connsiteY2" fmla="*/ 1719658 h 1894283"/>
                <a:gd name="connsiteX3" fmla="*/ 475030 w 1162418"/>
                <a:gd name="connsiteY3" fmla="*/ 1679971 h 1894283"/>
                <a:gd name="connsiteX4" fmla="*/ 505193 w 1162418"/>
                <a:gd name="connsiteY4" fmla="*/ 1640283 h 1894283"/>
                <a:gd name="connsiteX5" fmla="*/ 717918 w 1162418"/>
                <a:gd name="connsiteY5" fmla="*/ 1640283 h 1894283"/>
                <a:gd name="connsiteX6" fmla="*/ 746493 w 1162418"/>
                <a:gd name="connsiteY6" fmla="*/ 1592658 h 1894283"/>
                <a:gd name="connsiteX7" fmla="*/ 716330 w 1162418"/>
                <a:gd name="connsiteY7" fmla="*/ 1556146 h 1894283"/>
                <a:gd name="connsiteX8" fmla="*/ 398830 w 1162418"/>
                <a:gd name="connsiteY8" fmla="*/ 1556146 h 1894283"/>
                <a:gd name="connsiteX9" fmla="*/ 360730 w 1162418"/>
                <a:gd name="connsiteY9" fmla="*/ 1518046 h 1894283"/>
                <a:gd name="connsiteX10" fmla="*/ 382955 w 1162418"/>
                <a:gd name="connsiteY10" fmla="*/ 1470421 h 1894283"/>
                <a:gd name="connsiteX11" fmla="*/ 797293 w 1162418"/>
                <a:gd name="connsiteY11" fmla="*/ 1470421 h 1894283"/>
                <a:gd name="connsiteX12" fmla="*/ 830630 w 1162418"/>
                <a:gd name="connsiteY12" fmla="*/ 1422796 h 1894283"/>
                <a:gd name="connsiteX13" fmla="*/ 795705 w 1162418"/>
                <a:gd name="connsiteY13" fmla="*/ 1379933 h 1894283"/>
                <a:gd name="connsiteX14" fmla="*/ 386130 w 1162418"/>
                <a:gd name="connsiteY14" fmla="*/ 1379933 h 1894283"/>
                <a:gd name="connsiteX15" fmla="*/ 322630 w 1162418"/>
                <a:gd name="connsiteY15" fmla="*/ 1348183 h 1894283"/>
                <a:gd name="connsiteX16" fmla="*/ 283340 w 1162418"/>
                <a:gd name="connsiteY16" fmla="*/ 1296193 h 1894283"/>
                <a:gd name="connsiteX17" fmla="*/ 271830 w 1162418"/>
                <a:gd name="connsiteY17" fmla="*/ 1203721 h 1894283"/>
                <a:gd name="connsiteX18" fmla="*/ 260718 w 1162418"/>
                <a:gd name="connsiteY18" fmla="*/ 1124346 h 1894283"/>
                <a:gd name="connsiteX19" fmla="*/ 205155 w 1162418"/>
                <a:gd name="connsiteY19" fmla="*/ 1033858 h 1894283"/>
                <a:gd name="connsiteX20" fmla="*/ 130543 w 1162418"/>
                <a:gd name="connsiteY20" fmla="*/ 951308 h 1894283"/>
                <a:gd name="connsiteX21" fmla="*/ 55137 w 1162418"/>
                <a:gd name="connsiteY21" fmla="*/ 841374 h 1894283"/>
                <a:gd name="connsiteX22" fmla="*/ 13861 w 1162418"/>
                <a:gd name="connsiteY22" fmla="*/ 731837 h 1894283"/>
                <a:gd name="connsiteX23" fmla="*/ 368 w 1162418"/>
                <a:gd name="connsiteY23" fmla="*/ 597296 h 1894283"/>
                <a:gd name="connsiteX24" fmla="*/ 11480 w 1162418"/>
                <a:gd name="connsiteY24" fmla="*/ 471883 h 1894283"/>
                <a:gd name="connsiteX25" fmla="*/ 81330 w 1162418"/>
                <a:gd name="connsiteY25" fmla="*/ 281383 h 1894283"/>
                <a:gd name="connsiteX26" fmla="*/ 265480 w 1162418"/>
                <a:gd name="connsiteY26" fmla="*/ 89295 h 1894283"/>
                <a:gd name="connsiteX27" fmla="*/ 519480 w 1162418"/>
                <a:gd name="connsiteY27" fmla="*/ 0 h 1894283"/>
                <a:gd name="connsiteX28" fmla="*/ 705218 w 1162418"/>
                <a:gd name="connsiteY28" fmla="*/ 6746 h 1894283"/>
                <a:gd name="connsiteX29" fmla="*/ 943343 w 1162418"/>
                <a:gd name="connsiteY29" fmla="*/ 117871 h 1894283"/>
                <a:gd name="connsiteX30" fmla="*/ 1100505 w 1162418"/>
                <a:gd name="connsiteY30" fmla="*/ 306783 h 1894283"/>
                <a:gd name="connsiteX31" fmla="*/ 1162418 w 1162418"/>
                <a:gd name="connsiteY31" fmla="*/ 509983 h 1894283"/>
                <a:gd name="connsiteX32" fmla="*/ 1159243 w 1162418"/>
                <a:gd name="connsiteY32" fmla="*/ 679846 h 1894283"/>
                <a:gd name="connsiteX33" fmla="*/ 1090980 w 1162418"/>
                <a:gd name="connsiteY33" fmla="*/ 886221 h 1894283"/>
                <a:gd name="connsiteX34" fmla="*/ 957630 w 1162418"/>
                <a:gd name="connsiteY34" fmla="*/ 1054496 h 1894283"/>
                <a:gd name="connsiteX35" fmla="*/ 914768 w 1162418"/>
                <a:gd name="connsiteY35" fmla="*/ 1114821 h 1894283"/>
                <a:gd name="connsiteX36" fmla="*/ 905243 w 1162418"/>
                <a:gd name="connsiteY36" fmla="*/ 1171971 h 1894283"/>
                <a:gd name="connsiteX37" fmla="*/ 905243 w 1162418"/>
                <a:gd name="connsiteY37" fmla="*/ 1260871 h 1894283"/>
                <a:gd name="connsiteX38" fmla="*/ 868730 w 1162418"/>
                <a:gd name="connsiteY38" fmla="*/ 1297383 h 1894283"/>
                <a:gd name="connsiteX39" fmla="*/ 641718 w 1162418"/>
                <a:gd name="connsiteY39" fmla="*/ 1297383 h 1894283"/>
                <a:gd name="connsiteX40" fmla="*/ 590918 w 1162418"/>
                <a:gd name="connsiteY40" fmla="*/ 1275158 h 1894283"/>
                <a:gd name="connsiteX41" fmla="*/ 590918 w 1162418"/>
                <a:gd name="connsiteY41" fmla="*/ 1208483 h 1894283"/>
                <a:gd name="connsiteX0" fmla="*/ 584568 w 1162418"/>
                <a:gd name="connsiteY0" fmla="*/ 1896145 h 1896145"/>
                <a:gd name="connsiteX1" fmla="*/ 581393 w 1162418"/>
                <a:gd name="connsiteY1" fmla="*/ 1765970 h 1896145"/>
                <a:gd name="connsiteX2" fmla="*/ 508368 w 1162418"/>
                <a:gd name="connsiteY2" fmla="*/ 1721520 h 1896145"/>
                <a:gd name="connsiteX3" fmla="*/ 475030 w 1162418"/>
                <a:gd name="connsiteY3" fmla="*/ 1681833 h 1896145"/>
                <a:gd name="connsiteX4" fmla="*/ 505193 w 1162418"/>
                <a:gd name="connsiteY4" fmla="*/ 1642145 h 1896145"/>
                <a:gd name="connsiteX5" fmla="*/ 717918 w 1162418"/>
                <a:gd name="connsiteY5" fmla="*/ 1642145 h 1896145"/>
                <a:gd name="connsiteX6" fmla="*/ 746493 w 1162418"/>
                <a:gd name="connsiteY6" fmla="*/ 1594520 h 1896145"/>
                <a:gd name="connsiteX7" fmla="*/ 716330 w 1162418"/>
                <a:gd name="connsiteY7" fmla="*/ 1558008 h 1896145"/>
                <a:gd name="connsiteX8" fmla="*/ 398830 w 1162418"/>
                <a:gd name="connsiteY8" fmla="*/ 1558008 h 1896145"/>
                <a:gd name="connsiteX9" fmla="*/ 360730 w 1162418"/>
                <a:gd name="connsiteY9" fmla="*/ 1519908 h 1896145"/>
                <a:gd name="connsiteX10" fmla="*/ 382955 w 1162418"/>
                <a:gd name="connsiteY10" fmla="*/ 1472283 h 1896145"/>
                <a:gd name="connsiteX11" fmla="*/ 797293 w 1162418"/>
                <a:gd name="connsiteY11" fmla="*/ 1472283 h 1896145"/>
                <a:gd name="connsiteX12" fmla="*/ 830630 w 1162418"/>
                <a:gd name="connsiteY12" fmla="*/ 1424658 h 1896145"/>
                <a:gd name="connsiteX13" fmla="*/ 795705 w 1162418"/>
                <a:gd name="connsiteY13" fmla="*/ 1381795 h 1896145"/>
                <a:gd name="connsiteX14" fmla="*/ 386130 w 1162418"/>
                <a:gd name="connsiteY14" fmla="*/ 1381795 h 1896145"/>
                <a:gd name="connsiteX15" fmla="*/ 322630 w 1162418"/>
                <a:gd name="connsiteY15" fmla="*/ 1350045 h 1896145"/>
                <a:gd name="connsiteX16" fmla="*/ 283340 w 1162418"/>
                <a:gd name="connsiteY16" fmla="*/ 1298055 h 1896145"/>
                <a:gd name="connsiteX17" fmla="*/ 271830 w 1162418"/>
                <a:gd name="connsiteY17" fmla="*/ 1205583 h 1896145"/>
                <a:gd name="connsiteX18" fmla="*/ 260718 w 1162418"/>
                <a:gd name="connsiteY18" fmla="*/ 1126208 h 1896145"/>
                <a:gd name="connsiteX19" fmla="*/ 205155 w 1162418"/>
                <a:gd name="connsiteY19" fmla="*/ 1035720 h 1896145"/>
                <a:gd name="connsiteX20" fmla="*/ 130543 w 1162418"/>
                <a:gd name="connsiteY20" fmla="*/ 953170 h 1896145"/>
                <a:gd name="connsiteX21" fmla="*/ 55137 w 1162418"/>
                <a:gd name="connsiteY21" fmla="*/ 843236 h 1896145"/>
                <a:gd name="connsiteX22" fmla="*/ 13861 w 1162418"/>
                <a:gd name="connsiteY22" fmla="*/ 733699 h 1896145"/>
                <a:gd name="connsiteX23" fmla="*/ 368 w 1162418"/>
                <a:gd name="connsiteY23" fmla="*/ 599158 h 1896145"/>
                <a:gd name="connsiteX24" fmla="*/ 11480 w 1162418"/>
                <a:gd name="connsiteY24" fmla="*/ 473745 h 1896145"/>
                <a:gd name="connsiteX25" fmla="*/ 81330 w 1162418"/>
                <a:gd name="connsiteY25" fmla="*/ 283245 h 1896145"/>
                <a:gd name="connsiteX26" fmla="*/ 265480 w 1162418"/>
                <a:gd name="connsiteY26" fmla="*/ 91157 h 1896145"/>
                <a:gd name="connsiteX27" fmla="*/ 519480 w 1162418"/>
                <a:gd name="connsiteY27" fmla="*/ 1862 h 1896145"/>
                <a:gd name="connsiteX28" fmla="*/ 705218 w 1162418"/>
                <a:gd name="connsiteY28" fmla="*/ 8608 h 1896145"/>
                <a:gd name="connsiteX29" fmla="*/ 943343 w 1162418"/>
                <a:gd name="connsiteY29" fmla="*/ 119733 h 1896145"/>
                <a:gd name="connsiteX30" fmla="*/ 1100505 w 1162418"/>
                <a:gd name="connsiteY30" fmla="*/ 308645 h 1896145"/>
                <a:gd name="connsiteX31" fmla="*/ 1162418 w 1162418"/>
                <a:gd name="connsiteY31" fmla="*/ 511845 h 1896145"/>
                <a:gd name="connsiteX32" fmla="*/ 1159243 w 1162418"/>
                <a:gd name="connsiteY32" fmla="*/ 681708 h 1896145"/>
                <a:gd name="connsiteX33" fmla="*/ 1090980 w 1162418"/>
                <a:gd name="connsiteY33" fmla="*/ 888083 h 1896145"/>
                <a:gd name="connsiteX34" fmla="*/ 957630 w 1162418"/>
                <a:gd name="connsiteY34" fmla="*/ 1056358 h 1896145"/>
                <a:gd name="connsiteX35" fmla="*/ 914768 w 1162418"/>
                <a:gd name="connsiteY35" fmla="*/ 1116683 h 1896145"/>
                <a:gd name="connsiteX36" fmla="*/ 905243 w 1162418"/>
                <a:gd name="connsiteY36" fmla="*/ 1173833 h 1896145"/>
                <a:gd name="connsiteX37" fmla="*/ 905243 w 1162418"/>
                <a:gd name="connsiteY37" fmla="*/ 1262733 h 1896145"/>
                <a:gd name="connsiteX38" fmla="*/ 868730 w 1162418"/>
                <a:gd name="connsiteY38" fmla="*/ 1299245 h 1896145"/>
                <a:gd name="connsiteX39" fmla="*/ 641718 w 1162418"/>
                <a:gd name="connsiteY39" fmla="*/ 1299245 h 1896145"/>
                <a:gd name="connsiteX40" fmla="*/ 590918 w 1162418"/>
                <a:gd name="connsiteY40" fmla="*/ 1277020 h 1896145"/>
                <a:gd name="connsiteX41" fmla="*/ 590918 w 1162418"/>
                <a:gd name="connsiteY41" fmla="*/ 1210345 h 1896145"/>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2418"/>
                <a:gd name="connsiteY0" fmla="*/ 1898273 h 1898273"/>
                <a:gd name="connsiteX1" fmla="*/ 581393 w 1162418"/>
                <a:gd name="connsiteY1" fmla="*/ 1768098 h 1898273"/>
                <a:gd name="connsiteX2" fmla="*/ 508368 w 1162418"/>
                <a:gd name="connsiteY2" fmla="*/ 1723648 h 1898273"/>
                <a:gd name="connsiteX3" fmla="*/ 475030 w 1162418"/>
                <a:gd name="connsiteY3" fmla="*/ 1683961 h 1898273"/>
                <a:gd name="connsiteX4" fmla="*/ 505193 w 1162418"/>
                <a:gd name="connsiteY4" fmla="*/ 1644273 h 1898273"/>
                <a:gd name="connsiteX5" fmla="*/ 717918 w 1162418"/>
                <a:gd name="connsiteY5" fmla="*/ 1644273 h 1898273"/>
                <a:gd name="connsiteX6" fmla="*/ 746493 w 1162418"/>
                <a:gd name="connsiteY6" fmla="*/ 1596648 h 1898273"/>
                <a:gd name="connsiteX7" fmla="*/ 716330 w 1162418"/>
                <a:gd name="connsiteY7" fmla="*/ 1560136 h 1898273"/>
                <a:gd name="connsiteX8" fmla="*/ 398830 w 1162418"/>
                <a:gd name="connsiteY8" fmla="*/ 1560136 h 1898273"/>
                <a:gd name="connsiteX9" fmla="*/ 360730 w 1162418"/>
                <a:gd name="connsiteY9" fmla="*/ 1522036 h 1898273"/>
                <a:gd name="connsiteX10" fmla="*/ 382955 w 1162418"/>
                <a:gd name="connsiteY10" fmla="*/ 1474411 h 1898273"/>
                <a:gd name="connsiteX11" fmla="*/ 797293 w 1162418"/>
                <a:gd name="connsiteY11" fmla="*/ 1474411 h 1898273"/>
                <a:gd name="connsiteX12" fmla="*/ 830630 w 1162418"/>
                <a:gd name="connsiteY12" fmla="*/ 1426786 h 1898273"/>
                <a:gd name="connsiteX13" fmla="*/ 795705 w 1162418"/>
                <a:gd name="connsiteY13" fmla="*/ 1383923 h 1898273"/>
                <a:gd name="connsiteX14" fmla="*/ 386130 w 1162418"/>
                <a:gd name="connsiteY14" fmla="*/ 1383923 h 1898273"/>
                <a:gd name="connsiteX15" fmla="*/ 322630 w 1162418"/>
                <a:gd name="connsiteY15" fmla="*/ 1352173 h 1898273"/>
                <a:gd name="connsiteX16" fmla="*/ 283340 w 1162418"/>
                <a:gd name="connsiteY16" fmla="*/ 1300183 h 1898273"/>
                <a:gd name="connsiteX17" fmla="*/ 271830 w 1162418"/>
                <a:gd name="connsiteY17" fmla="*/ 1207711 h 1898273"/>
                <a:gd name="connsiteX18" fmla="*/ 260718 w 1162418"/>
                <a:gd name="connsiteY18" fmla="*/ 1128336 h 1898273"/>
                <a:gd name="connsiteX19" fmla="*/ 205155 w 1162418"/>
                <a:gd name="connsiteY19" fmla="*/ 1037848 h 1898273"/>
                <a:gd name="connsiteX20" fmla="*/ 130543 w 1162418"/>
                <a:gd name="connsiteY20" fmla="*/ 955298 h 1898273"/>
                <a:gd name="connsiteX21" fmla="*/ 55137 w 1162418"/>
                <a:gd name="connsiteY21" fmla="*/ 845364 h 1898273"/>
                <a:gd name="connsiteX22" fmla="*/ 13861 w 1162418"/>
                <a:gd name="connsiteY22" fmla="*/ 735827 h 1898273"/>
                <a:gd name="connsiteX23" fmla="*/ 368 w 1162418"/>
                <a:gd name="connsiteY23" fmla="*/ 601286 h 1898273"/>
                <a:gd name="connsiteX24" fmla="*/ 11480 w 1162418"/>
                <a:gd name="connsiteY24" fmla="*/ 475873 h 1898273"/>
                <a:gd name="connsiteX25" fmla="*/ 81330 w 1162418"/>
                <a:gd name="connsiteY25" fmla="*/ 285373 h 1898273"/>
                <a:gd name="connsiteX26" fmla="*/ 265480 w 1162418"/>
                <a:gd name="connsiteY26" fmla="*/ 93285 h 1898273"/>
                <a:gd name="connsiteX27" fmla="*/ 519480 w 1162418"/>
                <a:gd name="connsiteY27" fmla="*/ 3990 h 1898273"/>
                <a:gd name="connsiteX28" fmla="*/ 705218 w 1162418"/>
                <a:gd name="connsiteY28" fmla="*/ 10736 h 1898273"/>
                <a:gd name="connsiteX29" fmla="*/ 943343 w 1162418"/>
                <a:gd name="connsiteY29" fmla="*/ 121861 h 1898273"/>
                <a:gd name="connsiteX30" fmla="*/ 1100505 w 1162418"/>
                <a:gd name="connsiteY30" fmla="*/ 310773 h 1898273"/>
                <a:gd name="connsiteX31" fmla="*/ 1162418 w 1162418"/>
                <a:gd name="connsiteY31" fmla="*/ 513973 h 1898273"/>
                <a:gd name="connsiteX32" fmla="*/ 1159243 w 1162418"/>
                <a:gd name="connsiteY32" fmla="*/ 683836 h 1898273"/>
                <a:gd name="connsiteX33" fmla="*/ 1090980 w 1162418"/>
                <a:gd name="connsiteY33" fmla="*/ 890211 h 1898273"/>
                <a:gd name="connsiteX34" fmla="*/ 957630 w 1162418"/>
                <a:gd name="connsiteY34" fmla="*/ 1058486 h 1898273"/>
                <a:gd name="connsiteX35" fmla="*/ 914768 w 1162418"/>
                <a:gd name="connsiteY35" fmla="*/ 1118811 h 1898273"/>
                <a:gd name="connsiteX36" fmla="*/ 905243 w 1162418"/>
                <a:gd name="connsiteY36" fmla="*/ 1175961 h 1898273"/>
                <a:gd name="connsiteX37" fmla="*/ 905243 w 1162418"/>
                <a:gd name="connsiteY37" fmla="*/ 1264861 h 1898273"/>
                <a:gd name="connsiteX38" fmla="*/ 868730 w 1162418"/>
                <a:gd name="connsiteY38" fmla="*/ 1301373 h 1898273"/>
                <a:gd name="connsiteX39" fmla="*/ 641718 w 1162418"/>
                <a:gd name="connsiteY39" fmla="*/ 1301373 h 1898273"/>
                <a:gd name="connsiteX40" fmla="*/ 590918 w 1162418"/>
                <a:gd name="connsiteY40" fmla="*/ 1279148 h 1898273"/>
                <a:gd name="connsiteX41" fmla="*/ 590918 w 1162418"/>
                <a:gd name="connsiteY41" fmla="*/ 1212473 h 1898273"/>
                <a:gd name="connsiteX0" fmla="*/ 584568 w 1166196"/>
                <a:gd name="connsiteY0" fmla="*/ 1898273 h 1898273"/>
                <a:gd name="connsiteX1" fmla="*/ 581393 w 1166196"/>
                <a:gd name="connsiteY1" fmla="*/ 1768098 h 1898273"/>
                <a:gd name="connsiteX2" fmla="*/ 508368 w 1166196"/>
                <a:gd name="connsiteY2" fmla="*/ 1723648 h 1898273"/>
                <a:gd name="connsiteX3" fmla="*/ 475030 w 1166196"/>
                <a:gd name="connsiteY3" fmla="*/ 1683961 h 1898273"/>
                <a:gd name="connsiteX4" fmla="*/ 505193 w 1166196"/>
                <a:gd name="connsiteY4" fmla="*/ 1644273 h 1898273"/>
                <a:gd name="connsiteX5" fmla="*/ 717918 w 1166196"/>
                <a:gd name="connsiteY5" fmla="*/ 1644273 h 1898273"/>
                <a:gd name="connsiteX6" fmla="*/ 746493 w 1166196"/>
                <a:gd name="connsiteY6" fmla="*/ 1596648 h 1898273"/>
                <a:gd name="connsiteX7" fmla="*/ 716330 w 1166196"/>
                <a:gd name="connsiteY7" fmla="*/ 1560136 h 1898273"/>
                <a:gd name="connsiteX8" fmla="*/ 398830 w 1166196"/>
                <a:gd name="connsiteY8" fmla="*/ 1560136 h 1898273"/>
                <a:gd name="connsiteX9" fmla="*/ 360730 w 1166196"/>
                <a:gd name="connsiteY9" fmla="*/ 1522036 h 1898273"/>
                <a:gd name="connsiteX10" fmla="*/ 382955 w 1166196"/>
                <a:gd name="connsiteY10" fmla="*/ 1474411 h 1898273"/>
                <a:gd name="connsiteX11" fmla="*/ 797293 w 1166196"/>
                <a:gd name="connsiteY11" fmla="*/ 1474411 h 1898273"/>
                <a:gd name="connsiteX12" fmla="*/ 830630 w 1166196"/>
                <a:gd name="connsiteY12" fmla="*/ 1426786 h 1898273"/>
                <a:gd name="connsiteX13" fmla="*/ 795705 w 1166196"/>
                <a:gd name="connsiteY13" fmla="*/ 1383923 h 1898273"/>
                <a:gd name="connsiteX14" fmla="*/ 386130 w 1166196"/>
                <a:gd name="connsiteY14" fmla="*/ 1383923 h 1898273"/>
                <a:gd name="connsiteX15" fmla="*/ 322630 w 1166196"/>
                <a:gd name="connsiteY15" fmla="*/ 1352173 h 1898273"/>
                <a:gd name="connsiteX16" fmla="*/ 283340 w 1166196"/>
                <a:gd name="connsiteY16" fmla="*/ 1300183 h 1898273"/>
                <a:gd name="connsiteX17" fmla="*/ 271830 w 1166196"/>
                <a:gd name="connsiteY17" fmla="*/ 1207711 h 1898273"/>
                <a:gd name="connsiteX18" fmla="*/ 260718 w 1166196"/>
                <a:gd name="connsiteY18" fmla="*/ 1128336 h 1898273"/>
                <a:gd name="connsiteX19" fmla="*/ 205155 w 1166196"/>
                <a:gd name="connsiteY19" fmla="*/ 1037848 h 1898273"/>
                <a:gd name="connsiteX20" fmla="*/ 130543 w 1166196"/>
                <a:gd name="connsiteY20" fmla="*/ 955298 h 1898273"/>
                <a:gd name="connsiteX21" fmla="*/ 55137 w 1166196"/>
                <a:gd name="connsiteY21" fmla="*/ 845364 h 1898273"/>
                <a:gd name="connsiteX22" fmla="*/ 13861 w 1166196"/>
                <a:gd name="connsiteY22" fmla="*/ 735827 h 1898273"/>
                <a:gd name="connsiteX23" fmla="*/ 368 w 1166196"/>
                <a:gd name="connsiteY23" fmla="*/ 601286 h 1898273"/>
                <a:gd name="connsiteX24" fmla="*/ 11480 w 1166196"/>
                <a:gd name="connsiteY24" fmla="*/ 475873 h 1898273"/>
                <a:gd name="connsiteX25" fmla="*/ 81330 w 1166196"/>
                <a:gd name="connsiteY25" fmla="*/ 285373 h 1898273"/>
                <a:gd name="connsiteX26" fmla="*/ 265480 w 1166196"/>
                <a:gd name="connsiteY26" fmla="*/ 93285 h 1898273"/>
                <a:gd name="connsiteX27" fmla="*/ 519480 w 1166196"/>
                <a:gd name="connsiteY27" fmla="*/ 3990 h 1898273"/>
                <a:gd name="connsiteX28" fmla="*/ 705218 w 1166196"/>
                <a:gd name="connsiteY28" fmla="*/ 10736 h 1898273"/>
                <a:gd name="connsiteX29" fmla="*/ 943343 w 1166196"/>
                <a:gd name="connsiteY29" fmla="*/ 121861 h 1898273"/>
                <a:gd name="connsiteX30" fmla="*/ 1100505 w 1166196"/>
                <a:gd name="connsiteY30" fmla="*/ 310773 h 1898273"/>
                <a:gd name="connsiteX31" fmla="*/ 1162418 w 1166196"/>
                <a:gd name="connsiteY31" fmla="*/ 513973 h 1898273"/>
                <a:gd name="connsiteX32" fmla="*/ 1159243 w 1166196"/>
                <a:gd name="connsiteY32" fmla="*/ 683836 h 1898273"/>
                <a:gd name="connsiteX33" fmla="*/ 1090980 w 1166196"/>
                <a:gd name="connsiteY33" fmla="*/ 890211 h 1898273"/>
                <a:gd name="connsiteX34" fmla="*/ 957630 w 1166196"/>
                <a:gd name="connsiteY34" fmla="*/ 1058486 h 1898273"/>
                <a:gd name="connsiteX35" fmla="*/ 914768 w 1166196"/>
                <a:gd name="connsiteY35" fmla="*/ 1118811 h 1898273"/>
                <a:gd name="connsiteX36" fmla="*/ 905243 w 1166196"/>
                <a:gd name="connsiteY36" fmla="*/ 1175961 h 1898273"/>
                <a:gd name="connsiteX37" fmla="*/ 905243 w 1166196"/>
                <a:gd name="connsiteY37" fmla="*/ 1264861 h 1898273"/>
                <a:gd name="connsiteX38" fmla="*/ 868730 w 1166196"/>
                <a:gd name="connsiteY38" fmla="*/ 1301373 h 1898273"/>
                <a:gd name="connsiteX39" fmla="*/ 641718 w 1166196"/>
                <a:gd name="connsiteY39" fmla="*/ 1301373 h 1898273"/>
                <a:gd name="connsiteX40" fmla="*/ 590918 w 1166196"/>
                <a:gd name="connsiteY40" fmla="*/ 1279148 h 1898273"/>
                <a:gd name="connsiteX41" fmla="*/ 590918 w 1166196"/>
                <a:gd name="connsiteY41" fmla="*/ 1212473 h 1898273"/>
                <a:gd name="connsiteX0" fmla="*/ 584568 w 1170207"/>
                <a:gd name="connsiteY0" fmla="*/ 1898273 h 1898273"/>
                <a:gd name="connsiteX1" fmla="*/ 581393 w 1170207"/>
                <a:gd name="connsiteY1" fmla="*/ 1768098 h 1898273"/>
                <a:gd name="connsiteX2" fmla="*/ 508368 w 1170207"/>
                <a:gd name="connsiteY2" fmla="*/ 1723648 h 1898273"/>
                <a:gd name="connsiteX3" fmla="*/ 475030 w 1170207"/>
                <a:gd name="connsiteY3" fmla="*/ 1683961 h 1898273"/>
                <a:gd name="connsiteX4" fmla="*/ 505193 w 1170207"/>
                <a:gd name="connsiteY4" fmla="*/ 1644273 h 1898273"/>
                <a:gd name="connsiteX5" fmla="*/ 717918 w 1170207"/>
                <a:gd name="connsiteY5" fmla="*/ 1644273 h 1898273"/>
                <a:gd name="connsiteX6" fmla="*/ 746493 w 1170207"/>
                <a:gd name="connsiteY6" fmla="*/ 1596648 h 1898273"/>
                <a:gd name="connsiteX7" fmla="*/ 716330 w 1170207"/>
                <a:gd name="connsiteY7" fmla="*/ 1560136 h 1898273"/>
                <a:gd name="connsiteX8" fmla="*/ 398830 w 1170207"/>
                <a:gd name="connsiteY8" fmla="*/ 1560136 h 1898273"/>
                <a:gd name="connsiteX9" fmla="*/ 360730 w 1170207"/>
                <a:gd name="connsiteY9" fmla="*/ 1522036 h 1898273"/>
                <a:gd name="connsiteX10" fmla="*/ 382955 w 1170207"/>
                <a:gd name="connsiteY10" fmla="*/ 1474411 h 1898273"/>
                <a:gd name="connsiteX11" fmla="*/ 797293 w 1170207"/>
                <a:gd name="connsiteY11" fmla="*/ 1474411 h 1898273"/>
                <a:gd name="connsiteX12" fmla="*/ 830630 w 1170207"/>
                <a:gd name="connsiteY12" fmla="*/ 1426786 h 1898273"/>
                <a:gd name="connsiteX13" fmla="*/ 795705 w 1170207"/>
                <a:gd name="connsiteY13" fmla="*/ 1383923 h 1898273"/>
                <a:gd name="connsiteX14" fmla="*/ 386130 w 1170207"/>
                <a:gd name="connsiteY14" fmla="*/ 1383923 h 1898273"/>
                <a:gd name="connsiteX15" fmla="*/ 322630 w 1170207"/>
                <a:gd name="connsiteY15" fmla="*/ 1352173 h 1898273"/>
                <a:gd name="connsiteX16" fmla="*/ 283340 w 1170207"/>
                <a:gd name="connsiteY16" fmla="*/ 1300183 h 1898273"/>
                <a:gd name="connsiteX17" fmla="*/ 271830 w 1170207"/>
                <a:gd name="connsiteY17" fmla="*/ 1207711 h 1898273"/>
                <a:gd name="connsiteX18" fmla="*/ 260718 w 1170207"/>
                <a:gd name="connsiteY18" fmla="*/ 1128336 h 1898273"/>
                <a:gd name="connsiteX19" fmla="*/ 205155 w 1170207"/>
                <a:gd name="connsiteY19" fmla="*/ 1037848 h 1898273"/>
                <a:gd name="connsiteX20" fmla="*/ 130543 w 1170207"/>
                <a:gd name="connsiteY20" fmla="*/ 955298 h 1898273"/>
                <a:gd name="connsiteX21" fmla="*/ 55137 w 1170207"/>
                <a:gd name="connsiteY21" fmla="*/ 845364 h 1898273"/>
                <a:gd name="connsiteX22" fmla="*/ 13861 w 1170207"/>
                <a:gd name="connsiteY22" fmla="*/ 735827 h 1898273"/>
                <a:gd name="connsiteX23" fmla="*/ 368 w 1170207"/>
                <a:gd name="connsiteY23" fmla="*/ 601286 h 1898273"/>
                <a:gd name="connsiteX24" fmla="*/ 11480 w 1170207"/>
                <a:gd name="connsiteY24" fmla="*/ 475873 h 1898273"/>
                <a:gd name="connsiteX25" fmla="*/ 81330 w 1170207"/>
                <a:gd name="connsiteY25" fmla="*/ 285373 h 1898273"/>
                <a:gd name="connsiteX26" fmla="*/ 265480 w 1170207"/>
                <a:gd name="connsiteY26" fmla="*/ 93285 h 1898273"/>
                <a:gd name="connsiteX27" fmla="*/ 519480 w 1170207"/>
                <a:gd name="connsiteY27" fmla="*/ 3990 h 1898273"/>
                <a:gd name="connsiteX28" fmla="*/ 705218 w 1170207"/>
                <a:gd name="connsiteY28" fmla="*/ 10736 h 1898273"/>
                <a:gd name="connsiteX29" fmla="*/ 943343 w 1170207"/>
                <a:gd name="connsiteY29" fmla="*/ 121861 h 1898273"/>
                <a:gd name="connsiteX30" fmla="*/ 1100505 w 1170207"/>
                <a:gd name="connsiteY30" fmla="*/ 310773 h 1898273"/>
                <a:gd name="connsiteX31" fmla="*/ 1162418 w 1170207"/>
                <a:gd name="connsiteY31" fmla="*/ 513973 h 1898273"/>
                <a:gd name="connsiteX32" fmla="*/ 1159243 w 1170207"/>
                <a:gd name="connsiteY32" fmla="*/ 683836 h 1898273"/>
                <a:gd name="connsiteX33" fmla="*/ 1090980 w 1170207"/>
                <a:gd name="connsiteY33" fmla="*/ 890211 h 1898273"/>
                <a:gd name="connsiteX34" fmla="*/ 957630 w 1170207"/>
                <a:gd name="connsiteY34" fmla="*/ 1058486 h 1898273"/>
                <a:gd name="connsiteX35" fmla="*/ 914768 w 1170207"/>
                <a:gd name="connsiteY35" fmla="*/ 1118811 h 1898273"/>
                <a:gd name="connsiteX36" fmla="*/ 905243 w 1170207"/>
                <a:gd name="connsiteY36" fmla="*/ 1175961 h 1898273"/>
                <a:gd name="connsiteX37" fmla="*/ 905243 w 1170207"/>
                <a:gd name="connsiteY37" fmla="*/ 1264861 h 1898273"/>
                <a:gd name="connsiteX38" fmla="*/ 868730 w 1170207"/>
                <a:gd name="connsiteY38" fmla="*/ 1301373 h 1898273"/>
                <a:gd name="connsiteX39" fmla="*/ 641718 w 1170207"/>
                <a:gd name="connsiteY39" fmla="*/ 1301373 h 1898273"/>
                <a:gd name="connsiteX40" fmla="*/ 590918 w 1170207"/>
                <a:gd name="connsiteY40" fmla="*/ 1279148 h 1898273"/>
                <a:gd name="connsiteX41" fmla="*/ 590918 w 1170207"/>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67505"/>
                <a:gd name="connsiteY0" fmla="*/ 1898273 h 1898273"/>
                <a:gd name="connsiteX1" fmla="*/ 581393 w 1167505"/>
                <a:gd name="connsiteY1" fmla="*/ 1768098 h 1898273"/>
                <a:gd name="connsiteX2" fmla="*/ 508368 w 1167505"/>
                <a:gd name="connsiteY2" fmla="*/ 1723648 h 1898273"/>
                <a:gd name="connsiteX3" fmla="*/ 475030 w 1167505"/>
                <a:gd name="connsiteY3" fmla="*/ 1683961 h 1898273"/>
                <a:gd name="connsiteX4" fmla="*/ 505193 w 1167505"/>
                <a:gd name="connsiteY4" fmla="*/ 1644273 h 1898273"/>
                <a:gd name="connsiteX5" fmla="*/ 717918 w 1167505"/>
                <a:gd name="connsiteY5" fmla="*/ 1644273 h 1898273"/>
                <a:gd name="connsiteX6" fmla="*/ 746493 w 1167505"/>
                <a:gd name="connsiteY6" fmla="*/ 1596648 h 1898273"/>
                <a:gd name="connsiteX7" fmla="*/ 716330 w 1167505"/>
                <a:gd name="connsiteY7" fmla="*/ 1560136 h 1898273"/>
                <a:gd name="connsiteX8" fmla="*/ 398830 w 1167505"/>
                <a:gd name="connsiteY8" fmla="*/ 1560136 h 1898273"/>
                <a:gd name="connsiteX9" fmla="*/ 360730 w 1167505"/>
                <a:gd name="connsiteY9" fmla="*/ 1522036 h 1898273"/>
                <a:gd name="connsiteX10" fmla="*/ 382955 w 1167505"/>
                <a:gd name="connsiteY10" fmla="*/ 1474411 h 1898273"/>
                <a:gd name="connsiteX11" fmla="*/ 797293 w 1167505"/>
                <a:gd name="connsiteY11" fmla="*/ 1474411 h 1898273"/>
                <a:gd name="connsiteX12" fmla="*/ 830630 w 1167505"/>
                <a:gd name="connsiteY12" fmla="*/ 1426786 h 1898273"/>
                <a:gd name="connsiteX13" fmla="*/ 795705 w 1167505"/>
                <a:gd name="connsiteY13" fmla="*/ 1383923 h 1898273"/>
                <a:gd name="connsiteX14" fmla="*/ 386130 w 1167505"/>
                <a:gd name="connsiteY14" fmla="*/ 1383923 h 1898273"/>
                <a:gd name="connsiteX15" fmla="*/ 322630 w 1167505"/>
                <a:gd name="connsiteY15" fmla="*/ 1352173 h 1898273"/>
                <a:gd name="connsiteX16" fmla="*/ 283340 w 1167505"/>
                <a:gd name="connsiteY16" fmla="*/ 1300183 h 1898273"/>
                <a:gd name="connsiteX17" fmla="*/ 271830 w 1167505"/>
                <a:gd name="connsiteY17" fmla="*/ 1207711 h 1898273"/>
                <a:gd name="connsiteX18" fmla="*/ 260718 w 1167505"/>
                <a:gd name="connsiteY18" fmla="*/ 1128336 h 1898273"/>
                <a:gd name="connsiteX19" fmla="*/ 205155 w 1167505"/>
                <a:gd name="connsiteY19" fmla="*/ 1037848 h 1898273"/>
                <a:gd name="connsiteX20" fmla="*/ 130543 w 1167505"/>
                <a:gd name="connsiteY20" fmla="*/ 955298 h 1898273"/>
                <a:gd name="connsiteX21" fmla="*/ 55137 w 1167505"/>
                <a:gd name="connsiteY21" fmla="*/ 845364 h 1898273"/>
                <a:gd name="connsiteX22" fmla="*/ 13861 w 1167505"/>
                <a:gd name="connsiteY22" fmla="*/ 735827 h 1898273"/>
                <a:gd name="connsiteX23" fmla="*/ 368 w 1167505"/>
                <a:gd name="connsiteY23" fmla="*/ 601286 h 1898273"/>
                <a:gd name="connsiteX24" fmla="*/ 11480 w 1167505"/>
                <a:gd name="connsiteY24" fmla="*/ 475873 h 1898273"/>
                <a:gd name="connsiteX25" fmla="*/ 81330 w 1167505"/>
                <a:gd name="connsiteY25" fmla="*/ 285373 h 1898273"/>
                <a:gd name="connsiteX26" fmla="*/ 265480 w 1167505"/>
                <a:gd name="connsiteY26" fmla="*/ 93285 h 1898273"/>
                <a:gd name="connsiteX27" fmla="*/ 519480 w 1167505"/>
                <a:gd name="connsiteY27" fmla="*/ 3990 h 1898273"/>
                <a:gd name="connsiteX28" fmla="*/ 705218 w 1167505"/>
                <a:gd name="connsiteY28" fmla="*/ 10736 h 1898273"/>
                <a:gd name="connsiteX29" fmla="*/ 943343 w 1167505"/>
                <a:gd name="connsiteY29" fmla="*/ 121861 h 1898273"/>
                <a:gd name="connsiteX30" fmla="*/ 1100505 w 1167505"/>
                <a:gd name="connsiteY30" fmla="*/ 310773 h 1898273"/>
                <a:gd name="connsiteX31" fmla="*/ 1162418 w 1167505"/>
                <a:gd name="connsiteY31" fmla="*/ 513973 h 1898273"/>
                <a:gd name="connsiteX32" fmla="*/ 1159243 w 1167505"/>
                <a:gd name="connsiteY32" fmla="*/ 683836 h 1898273"/>
                <a:gd name="connsiteX33" fmla="*/ 1090980 w 1167505"/>
                <a:gd name="connsiteY33" fmla="*/ 890211 h 1898273"/>
                <a:gd name="connsiteX34" fmla="*/ 957630 w 1167505"/>
                <a:gd name="connsiteY34" fmla="*/ 1058486 h 1898273"/>
                <a:gd name="connsiteX35" fmla="*/ 914768 w 1167505"/>
                <a:gd name="connsiteY35" fmla="*/ 1118811 h 1898273"/>
                <a:gd name="connsiteX36" fmla="*/ 905243 w 1167505"/>
                <a:gd name="connsiteY36" fmla="*/ 1175961 h 1898273"/>
                <a:gd name="connsiteX37" fmla="*/ 905243 w 1167505"/>
                <a:gd name="connsiteY37" fmla="*/ 1264861 h 1898273"/>
                <a:gd name="connsiteX38" fmla="*/ 868730 w 1167505"/>
                <a:gd name="connsiteY38" fmla="*/ 1301373 h 1898273"/>
                <a:gd name="connsiteX39" fmla="*/ 641718 w 1167505"/>
                <a:gd name="connsiteY39" fmla="*/ 1301373 h 1898273"/>
                <a:gd name="connsiteX40" fmla="*/ 590918 w 1167505"/>
                <a:gd name="connsiteY40" fmla="*/ 1279148 h 1898273"/>
                <a:gd name="connsiteX41" fmla="*/ 590918 w 1167505"/>
                <a:gd name="connsiteY41" fmla="*/ 1212473 h 1898273"/>
                <a:gd name="connsiteX0" fmla="*/ 584568 w 1170104"/>
                <a:gd name="connsiteY0" fmla="*/ 1898273 h 1898273"/>
                <a:gd name="connsiteX1" fmla="*/ 581393 w 1170104"/>
                <a:gd name="connsiteY1" fmla="*/ 1768098 h 1898273"/>
                <a:gd name="connsiteX2" fmla="*/ 508368 w 1170104"/>
                <a:gd name="connsiteY2" fmla="*/ 1723648 h 1898273"/>
                <a:gd name="connsiteX3" fmla="*/ 475030 w 1170104"/>
                <a:gd name="connsiteY3" fmla="*/ 1683961 h 1898273"/>
                <a:gd name="connsiteX4" fmla="*/ 505193 w 1170104"/>
                <a:gd name="connsiteY4" fmla="*/ 1644273 h 1898273"/>
                <a:gd name="connsiteX5" fmla="*/ 717918 w 1170104"/>
                <a:gd name="connsiteY5" fmla="*/ 1644273 h 1898273"/>
                <a:gd name="connsiteX6" fmla="*/ 746493 w 1170104"/>
                <a:gd name="connsiteY6" fmla="*/ 1596648 h 1898273"/>
                <a:gd name="connsiteX7" fmla="*/ 716330 w 1170104"/>
                <a:gd name="connsiteY7" fmla="*/ 1560136 h 1898273"/>
                <a:gd name="connsiteX8" fmla="*/ 398830 w 1170104"/>
                <a:gd name="connsiteY8" fmla="*/ 1560136 h 1898273"/>
                <a:gd name="connsiteX9" fmla="*/ 360730 w 1170104"/>
                <a:gd name="connsiteY9" fmla="*/ 1522036 h 1898273"/>
                <a:gd name="connsiteX10" fmla="*/ 382955 w 1170104"/>
                <a:gd name="connsiteY10" fmla="*/ 1474411 h 1898273"/>
                <a:gd name="connsiteX11" fmla="*/ 797293 w 1170104"/>
                <a:gd name="connsiteY11" fmla="*/ 1474411 h 1898273"/>
                <a:gd name="connsiteX12" fmla="*/ 830630 w 1170104"/>
                <a:gd name="connsiteY12" fmla="*/ 1426786 h 1898273"/>
                <a:gd name="connsiteX13" fmla="*/ 795705 w 1170104"/>
                <a:gd name="connsiteY13" fmla="*/ 1383923 h 1898273"/>
                <a:gd name="connsiteX14" fmla="*/ 386130 w 1170104"/>
                <a:gd name="connsiteY14" fmla="*/ 1383923 h 1898273"/>
                <a:gd name="connsiteX15" fmla="*/ 322630 w 1170104"/>
                <a:gd name="connsiteY15" fmla="*/ 1352173 h 1898273"/>
                <a:gd name="connsiteX16" fmla="*/ 283340 w 1170104"/>
                <a:gd name="connsiteY16" fmla="*/ 1300183 h 1898273"/>
                <a:gd name="connsiteX17" fmla="*/ 271830 w 1170104"/>
                <a:gd name="connsiteY17" fmla="*/ 1207711 h 1898273"/>
                <a:gd name="connsiteX18" fmla="*/ 260718 w 1170104"/>
                <a:gd name="connsiteY18" fmla="*/ 1128336 h 1898273"/>
                <a:gd name="connsiteX19" fmla="*/ 205155 w 1170104"/>
                <a:gd name="connsiteY19" fmla="*/ 1037848 h 1898273"/>
                <a:gd name="connsiteX20" fmla="*/ 130543 w 1170104"/>
                <a:gd name="connsiteY20" fmla="*/ 955298 h 1898273"/>
                <a:gd name="connsiteX21" fmla="*/ 55137 w 1170104"/>
                <a:gd name="connsiteY21" fmla="*/ 845364 h 1898273"/>
                <a:gd name="connsiteX22" fmla="*/ 13861 w 1170104"/>
                <a:gd name="connsiteY22" fmla="*/ 735827 h 1898273"/>
                <a:gd name="connsiteX23" fmla="*/ 368 w 1170104"/>
                <a:gd name="connsiteY23" fmla="*/ 601286 h 1898273"/>
                <a:gd name="connsiteX24" fmla="*/ 11480 w 1170104"/>
                <a:gd name="connsiteY24" fmla="*/ 475873 h 1898273"/>
                <a:gd name="connsiteX25" fmla="*/ 81330 w 1170104"/>
                <a:gd name="connsiteY25" fmla="*/ 285373 h 1898273"/>
                <a:gd name="connsiteX26" fmla="*/ 265480 w 1170104"/>
                <a:gd name="connsiteY26" fmla="*/ 93285 h 1898273"/>
                <a:gd name="connsiteX27" fmla="*/ 519480 w 1170104"/>
                <a:gd name="connsiteY27" fmla="*/ 3990 h 1898273"/>
                <a:gd name="connsiteX28" fmla="*/ 705218 w 1170104"/>
                <a:gd name="connsiteY28" fmla="*/ 10736 h 1898273"/>
                <a:gd name="connsiteX29" fmla="*/ 943343 w 1170104"/>
                <a:gd name="connsiteY29" fmla="*/ 121861 h 1898273"/>
                <a:gd name="connsiteX30" fmla="*/ 1100505 w 1170104"/>
                <a:gd name="connsiteY30" fmla="*/ 310773 h 1898273"/>
                <a:gd name="connsiteX31" fmla="*/ 1162418 w 1170104"/>
                <a:gd name="connsiteY31" fmla="*/ 513973 h 1898273"/>
                <a:gd name="connsiteX32" fmla="*/ 1165196 w 1170104"/>
                <a:gd name="connsiteY32" fmla="*/ 683836 h 1898273"/>
                <a:gd name="connsiteX33" fmla="*/ 1090980 w 1170104"/>
                <a:gd name="connsiteY33" fmla="*/ 890211 h 1898273"/>
                <a:gd name="connsiteX34" fmla="*/ 957630 w 1170104"/>
                <a:gd name="connsiteY34" fmla="*/ 1058486 h 1898273"/>
                <a:gd name="connsiteX35" fmla="*/ 914768 w 1170104"/>
                <a:gd name="connsiteY35" fmla="*/ 1118811 h 1898273"/>
                <a:gd name="connsiteX36" fmla="*/ 905243 w 1170104"/>
                <a:gd name="connsiteY36" fmla="*/ 1175961 h 1898273"/>
                <a:gd name="connsiteX37" fmla="*/ 905243 w 1170104"/>
                <a:gd name="connsiteY37" fmla="*/ 1264861 h 1898273"/>
                <a:gd name="connsiteX38" fmla="*/ 868730 w 1170104"/>
                <a:gd name="connsiteY38" fmla="*/ 1301373 h 1898273"/>
                <a:gd name="connsiteX39" fmla="*/ 641718 w 1170104"/>
                <a:gd name="connsiteY39" fmla="*/ 1301373 h 1898273"/>
                <a:gd name="connsiteX40" fmla="*/ 590918 w 1170104"/>
                <a:gd name="connsiteY40" fmla="*/ 1279148 h 1898273"/>
                <a:gd name="connsiteX41" fmla="*/ 590918 w 1170104"/>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90980 w 1167899"/>
                <a:gd name="connsiteY33" fmla="*/ 890211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7630 w 1167899"/>
                <a:gd name="connsiteY34" fmla="*/ 1058486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5243 w 1167899"/>
                <a:gd name="connsiteY37" fmla="*/ 1264861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902862 w 1167899"/>
                <a:gd name="connsiteY37" fmla="*/ 1261289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5243 w 1167899"/>
                <a:gd name="connsiteY36" fmla="*/ 1175961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2955 w 1167899"/>
                <a:gd name="connsiteY10" fmla="*/ 1474411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5030 w 1167899"/>
                <a:gd name="connsiteY3" fmla="*/ 1683961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8368 w 1167899"/>
                <a:gd name="connsiteY2" fmla="*/ 1723648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00033 w 1167899"/>
                <a:gd name="connsiteY2" fmla="*/ 1728411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6493 w 1167899"/>
                <a:gd name="connsiteY6" fmla="*/ 1596648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60718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9527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30630 w 1167899"/>
                <a:gd name="connsiteY12" fmla="*/ 1426786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0136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68730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2868 w 1167899"/>
                <a:gd name="connsiteY34" fmla="*/ 1056105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7899"/>
                <a:gd name="connsiteY0" fmla="*/ 1898273 h 1898273"/>
                <a:gd name="connsiteX1" fmla="*/ 581393 w 1167899"/>
                <a:gd name="connsiteY1" fmla="*/ 1768098 h 1898273"/>
                <a:gd name="connsiteX2" fmla="*/ 513130 w 1167899"/>
                <a:gd name="connsiteY2" fmla="*/ 1726030 h 1898273"/>
                <a:gd name="connsiteX3" fmla="*/ 470268 w 1167899"/>
                <a:gd name="connsiteY3" fmla="*/ 1680389 h 1898273"/>
                <a:gd name="connsiteX4" fmla="*/ 505193 w 1167899"/>
                <a:gd name="connsiteY4" fmla="*/ 1644273 h 1898273"/>
                <a:gd name="connsiteX5" fmla="*/ 717918 w 1167899"/>
                <a:gd name="connsiteY5" fmla="*/ 1644273 h 1898273"/>
                <a:gd name="connsiteX6" fmla="*/ 748874 w 1167899"/>
                <a:gd name="connsiteY6" fmla="*/ 1603792 h 1898273"/>
                <a:gd name="connsiteX7" fmla="*/ 716330 w 1167899"/>
                <a:gd name="connsiteY7" fmla="*/ 1561327 h 1898273"/>
                <a:gd name="connsiteX8" fmla="*/ 398830 w 1167899"/>
                <a:gd name="connsiteY8" fmla="*/ 1560136 h 1898273"/>
                <a:gd name="connsiteX9" fmla="*/ 360730 w 1167899"/>
                <a:gd name="connsiteY9" fmla="*/ 1522036 h 1898273"/>
                <a:gd name="connsiteX10" fmla="*/ 387717 w 1167899"/>
                <a:gd name="connsiteY10" fmla="*/ 1476793 h 1898273"/>
                <a:gd name="connsiteX11" fmla="*/ 797293 w 1167899"/>
                <a:gd name="connsiteY11" fmla="*/ 1474411 h 1898273"/>
                <a:gd name="connsiteX12" fmla="*/ 828249 w 1167899"/>
                <a:gd name="connsiteY12" fmla="*/ 1425595 h 1898273"/>
                <a:gd name="connsiteX13" fmla="*/ 795705 w 1167899"/>
                <a:gd name="connsiteY13" fmla="*/ 1383923 h 1898273"/>
                <a:gd name="connsiteX14" fmla="*/ 386130 w 1167899"/>
                <a:gd name="connsiteY14" fmla="*/ 1383923 h 1898273"/>
                <a:gd name="connsiteX15" fmla="*/ 322630 w 1167899"/>
                <a:gd name="connsiteY15" fmla="*/ 1352173 h 1898273"/>
                <a:gd name="connsiteX16" fmla="*/ 283340 w 1167899"/>
                <a:gd name="connsiteY16" fmla="*/ 1300183 h 1898273"/>
                <a:gd name="connsiteX17" fmla="*/ 271830 w 1167899"/>
                <a:gd name="connsiteY17" fmla="*/ 1207711 h 1898273"/>
                <a:gd name="connsiteX18" fmla="*/ 255955 w 1167899"/>
                <a:gd name="connsiteY18" fmla="*/ 1128336 h 1898273"/>
                <a:gd name="connsiteX19" fmla="*/ 205155 w 1167899"/>
                <a:gd name="connsiteY19" fmla="*/ 1037848 h 1898273"/>
                <a:gd name="connsiteX20" fmla="*/ 130543 w 1167899"/>
                <a:gd name="connsiteY20" fmla="*/ 955298 h 1898273"/>
                <a:gd name="connsiteX21" fmla="*/ 55137 w 1167899"/>
                <a:gd name="connsiteY21" fmla="*/ 845364 h 1898273"/>
                <a:gd name="connsiteX22" fmla="*/ 13861 w 1167899"/>
                <a:gd name="connsiteY22" fmla="*/ 735827 h 1898273"/>
                <a:gd name="connsiteX23" fmla="*/ 368 w 1167899"/>
                <a:gd name="connsiteY23" fmla="*/ 601286 h 1898273"/>
                <a:gd name="connsiteX24" fmla="*/ 11480 w 1167899"/>
                <a:gd name="connsiteY24" fmla="*/ 475873 h 1898273"/>
                <a:gd name="connsiteX25" fmla="*/ 81330 w 1167899"/>
                <a:gd name="connsiteY25" fmla="*/ 285373 h 1898273"/>
                <a:gd name="connsiteX26" fmla="*/ 265480 w 1167899"/>
                <a:gd name="connsiteY26" fmla="*/ 93285 h 1898273"/>
                <a:gd name="connsiteX27" fmla="*/ 519480 w 1167899"/>
                <a:gd name="connsiteY27" fmla="*/ 3990 h 1898273"/>
                <a:gd name="connsiteX28" fmla="*/ 705218 w 1167899"/>
                <a:gd name="connsiteY28" fmla="*/ 10736 h 1898273"/>
                <a:gd name="connsiteX29" fmla="*/ 943343 w 1167899"/>
                <a:gd name="connsiteY29" fmla="*/ 121861 h 1898273"/>
                <a:gd name="connsiteX30" fmla="*/ 1100505 w 1167899"/>
                <a:gd name="connsiteY30" fmla="*/ 310773 h 1898273"/>
                <a:gd name="connsiteX31" fmla="*/ 1162418 w 1167899"/>
                <a:gd name="connsiteY31" fmla="*/ 513973 h 1898273"/>
                <a:gd name="connsiteX32" fmla="*/ 1165196 w 1167899"/>
                <a:gd name="connsiteY32" fmla="*/ 683836 h 1898273"/>
                <a:gd name="connsiteX33" fmla="*/ 1085027 w 1167899"/>
                <a:gd name="connsiteY33" fmla="*/ 889020 h 1898273"/>
                <a:gd name="connsiteX34" fmla="*/ 950487 w 1167899"/>
                <a:gd name="connsiteY34" fmla="*/ 1054914 h 1898273"/>
                <a:gd name="connsiteX35" fmla="*/ 914768 w 1167899"/>
                <a:gd name="connsiteY35" fmla="*/ 1118811 h 1898273"/>
                <a:gd name="connsiteX36" fmla="*/ 900480 w 1167899"/>
                <a:gd name="connsiteY36" fmla="*/ 1177152 h 1898273"/>
                <a:gd name="connsiteX37" fmla="*/ 898100 w 1167899"/>
                <a:gd name="connsiteY37" fmla="*/ 1258908 h 1898273"/>
                <a:gd name="connsiteX38" fmla="*/ 858014 w 1167899"/>
                <a:gd name="connsiteY38" fmla="*/ 1301373 h 1898273"/>
                <a:gd name="connsiteX39" fmla="*/ 641718 w 1167899"/>
                <a:gd name="connsiteY39" fmla="*/ 1301373 h 1898273"/>
                <a:gd name="connsiteX40" fmla="*/ 590918 w 1167899"/>
                <a:gd name="connsiteY40" fmla="*/ 1279148 h 1898273"/>
                <a:gd name="connsiteX41" fmla="*/ 590918 w 1167899"/>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69166"/>
                <a:gd name="connsiteY0" fmla="*/ 1898273 h 1898273"/>
                <a:gd name="connsiteX1" fmla="*/ 581393 w 1169166"/>
                <a:gd name="connsiteY1" fmla="*/ 1768098 h 1898273"/>
                <a:gd name="connsiteX2" fmla="*/ 513130 w 1169166"/>
                <a:gd name="connsiteY2" fmla="*/ 1726030 h 1898273"/>
                <a:gd name="connsiteX3" fmla="*/ 470268 w 1169166"/>
                <a:gd name="connsiteY3" fmla="*/ 1680389 h 1898273"/>
                <a:gd name="connsiteX4" fmla="*/ 505193 w 1169166"/>
                <a:gd name="connsiteY4" fmla="*/ 1644273 h 1898273"/>
                <a:gd name="connsiteX5" fmla="*/ 717918 w 1169166"/>
                <a:gd name="connsiteY5" fmla="*/ 1644273 h 1898273"/>
                <a:gd name="connsiteX6" fmla="*/ 748874 w 1169166"/>
                <a:gd name="connsiteY6" fmla="*/ 1603792 h 1898273"/>
                <a:gd name="connsiteX7" fmla="*/ 716330 w 1169166"/>
                <a:gd name="connsiteY7" fmla="*/ 1561327 h 1898273"/>
                <a:gd name="connsiteX8" fmla="*/ 398830 w 1169166"/>
                <a:gd name="connsiteY8" fmla="*/ 1560136 h 1898273"/>
                <a:gd name="connsiteX9" fmla="*/ 360730 w 1169166"/>
                <a:gd name="connsiteY9" fmla="*/ 1522036 h 1898273"/>
                <a:gd name="connsiteX10" fmla="*/ 387717 w 1169166"/>
                <a:gd name="connsiteY10" fmla="*/ 1476793 h 1898273"/>
                <a:gd name="connsiteX11" fmla="*/ 797293 w 1169166"/>
                <a:gd name="connsiteY11" fmla="*/ 1474411 h 1898273"/>
                <a:gd name="connsiteX12" fmla="*/ 828249 w 1169166"/>
                <a:gd name="connsiteY12" fmla="*/ 1425595 h 1898273"/>
                <a:gd name="connsiteX13" fmla="*/ 795705 w 1169166"/>
                <a:gd name="connsiteY13" fmla="*/ 1383923 h 1898273"/>
                <a:gd name="connsiteX14" fmla="*/ 386130 w 1169166"/>
                <a:gd name="connsiteY14" fmla="*/ 1383923 h 1898273"/>
                <a:gd name="connsiteX15" fmla="*/ 322630 w 1169166"/>
                <a:gd name="connsiteY15" fmla="*/ 1352173 h 1898273"/>
                <a:gd name="connsiteX16" fmla="*/ 283340 w 1169166"/>
                <a:gd name="connsiteY16" fmla="*/ 1300183 h 1898273"/>
                <a:gd name="connsiteX17" fmla="*/ 271830 w 1169166"/>
                <a:gd name="connsiteY17" fmla="*/ 1207711 h 1898273"/>
                <a:gd name="connsiteX18" fmla="*/ 255955 w 1169166"/>
                <a:gd name="connsiteY18" fmla="*/ 1128336 h 1898273"/>
                <a:gd name="connsiteX19" fmla="*/ 205155 w 1169166"/>
                <a:gd name="connsiteY19" fmla="*/ 1037848 h 1898273"/>
                <a:gd name="connsiteX20" fmla="*/ 130543 w 1169166"/>
                <a:gd name="connsiteY20" fmla="*/ 955298 h 1898273"/>
                <a:gd name="connsiteX21" fmla="*/ 55137 w 1169166"/>
                <a:gd name="connsiteY21" fmla="*/ 845364 h 1898273"/>
                <a:gd name="connsiteX22" fmla="*/ 13861 w 1169166"/>
                <a:gd name="connsiteY22" fmla="*/ 735827 h 1898273"/>
                <a:gd name="connsiteX23" fmla="*/ 368 w 1169166"/>
                <a:gd name="connsiteY23" fmla="*/ 601286 h 1898273"/>
                <a:gd name="connsiteX24" fmla="*/ 11480 w 1169166"/>
                <a:gd name="connsiteY24" fmla="*/ 475873 h 1898273"/>
                <a:gd name="connsiteX25" fmla="*/ 81330 w 1169166"/>
                <a:gd name="connsiteY25" fmla="*/ 285373 h 1898273"/>
                <a:gd name="connsiteX26" fmla="*/ 265480 w 1169166"/>
                <a:gd name="connsiteY26" fmla="*/ 93285 h 1898273"/>
                <a:gd name="connsiteX27" fmla="*/ 519480 w 1169166"/>
                <a:gd name="connsiteY27" fmla="*/ 3990 h 1898273"/>
                <a:gd name="connsiteX28" fmla="*/ 705218 w 1169166"/>
                <a:gd name="connsiteY28" fmla="*/ 10736 h 1898273"/>
                <a:gd name="connsiteX29" fmla="*/ 943343 w 1169166"/>
                <a:gd name="connsiteY29" fmla="*/ 121861 h 1898273"/>
                <a:gd name="connsiteX30" fmla="*/ 1100505 w 1169166"/>
                <a:gd name="connsiteY30" fmla="*/ 310773 h 1898273"/>
                <a:gd name="connsiteX31" fmla="*/ 1162418 w 1169166"/>
                <a:gd name="connsiteY31" fmla="*/ 513973 h 1898273"/>
                <a:gd name="connsiteX32" fmla="*/ 1165196 w 1169166"/>
                <a:gd name="connsiteY32" fmla="*/ 683836 h 1898273"/>
                <a:gd name="connsiteX33" fmla="*/ 1085027 w 1169166"/>
                <a:gd name="connsiteY33" fmla="*/ 889020 h 1898273"/>
                <a:gd name="connsiteX34" fmla="*/ 950487 w 1169166"/>
                <a:gd name="connsiteY34" fmla="*/ 1054914 h 1898273"/>
                <a:gd name="connsiteX35" fmla="*/ 914768 w 1169166"/>
                <a:gd name="connsiteY35" fmla="*/ 1118811 h 1898273"/>
                <a:gd name="connsiteX36" fmla="*/ 900480 w 1169166"/>
                <a:gd name="connsiteY36" fmla="*/ 1177152 h 1898273"/>
                <a:gd name="connsiteX37" fmla="*/ 898100 w 1169166"/>
                <a:gd name="connsiteY37" fmla="*/ 1258908 h 1898273"/>
                <a:gd name="connsiteX38" fmla="*/ 858014 w 1169166"/>
                <a:gd name="connsiteY38" fmla="*/ 1301373 h 1898273"/>
                <a:gd name="connsiteX39" fmla="*/ 641718 w 1169166"/>
                <a:gd name="connsiteY39" fmla="*/ 1301373 h 1898273"/>
                <a:gd name="connsiteX40" fmla="*/ 590918 w 1169166"/>
                <a:gd name="connsiteY40" fmla="*/ 1279148 h 1898273"/>
                <a:gd name="connsiteX41" fmla="*/ 590918 w 1169166"/>
                <a:gd name="connsiteY41" fmla="*/ 1212473 h 1898273"/>
                <a:gd name="connsiteX0" fmla="*/ 584568 w 1170467"/>
                <a:gd name="connsiteY0" fmla="*/ 1898273 h 1898273"/>
                <a:gd name="connsiteX1" fmla="*/ 581393 w 1170467"/>
                <a:gd name="connsiteY1" fmla="*/ 1768098 h 1898273"/>
                <a:gd name="connsiteX2" fmla="*/ 513130 w 1170467"/>
                <a:gd name="connsiteY2" fmla="*/ 1726030 h 1898273"/>
                <a:gd name="connsiteX3" fmla="*/ 470268 w 1170467"/>
                <a:gd name="connsiteY3" fmla="*/ 1680389 h 1898273"/>
                <a:gd name="connsiteX4" fmla="*/ 505193 w 1170467"/>
                <a:gd name="connsiteY4" fmla="*/ 1644273 h 1898273"/>
                <a:gd name="connsiteX5" fmla="*/ 717918 w 1170467"/>
                <a:gd name="connsiteY5" fmla="*/ 1644273 h 1898273"/>
                <a:gd name="connsiteX6" fmla="*/ 748874 w 1170467"/>
                <a:gd name="connsiteY6" fmla="*/ 1603792 h 1898273"/>
                <a:gd name="connsiteX7" fmla="*/ 716330 w 1170467"/>
                <a:gd name="connsiteY7" fmla="*/ 1561327 h 1898273"/>
                <a:gd name="connsiteX8" fmla="*/ 398830 w 1170467"/>
                <a:gd name="connsiteY8" fmla="*/ 1560136 h 1898273"/>
                <a:gd name="connsiteX9" fmla="*/ 360730 w 1170467"/>
                <a:gd name="connsiteY9" fmla="*/ 1522036 h 1898273"/>
                <a:gd name="connsiteX10" fmla="*/ 387717 w 1170467"/>
                <a:gd name="connsiteY10" fmla="*/ 1476793 h 1898273"/>
                <a:gd name="connsiteX11" fmla="*/ 797293 w 1170467"/>
                <a:gd name="connsiteY11" fmla="*/ 1474411 h 1898273"/>
                <a:gd name="connsiteX12" fmla="*/ 828249 w 1170467"/>
                <a:gd name="connsiteY12" fmla="*/ 1425595 h 1898273"/>
                <a:gd name="connsiteX13" fmla="*/ 795705 w 1170467"/>
                <a:gd name="connsiteY13" fmla="*/ 1383923 h 1898273"/>
                <a:gd name="connsiteX14" fmla="*/ 386130 w 1170467"/>
                <a:gd name="connsiteY14" fmla="*/ 1383923 h 1898273"/>
                <a:gd name="connsiteX15" fmla="*/ 322630 w 1170467"/>
                <a:gd name="connsiteY15" fmla="*/ 1352173 h 1898273"/>
                <a:gd name="connsiteX16" fmla="*/ 283340 w 1170467"/>
                <a:gd name="connsiteY16" fmla="*/ 1300183 h 1898273"/>
                <a:gd name="connsiteX17" fmla="*/ 271830 w 1170467"/>
                <a:gd name="connsiteY17" fmla="*/ 1207711 h 1898273"/>
                <a:gd name="connsiteX18" fmla="*/ 255955 w 1170467"/>
                <a:gd name="connsiteY18" fmla="*/ 1128336 h 1898273"/>
                <a:gd name="connsiteX19" fmla="*/ 205155 w 1170467"/>
                <a:gd name="connsiteY19" fmla="*/ 1037848 h 1898273"/>
                <a:gd name="connsiteX20" fmla="*/ 130543 w 1170467"/>
                <a:gd name="connsiteY20" fmla="*/ 955298 h 1898273"/>
                <a:gd name="connsiteX21" fmla="*/ 55137 w 1170467"/>
                <a:gd name="connsiteY21" fmla="*/ 845364 h 1898273"/>
                <a:gd name="connsiteX22" fmla="*/ 13861 w 1170467"/>
                <a:gd name="connsiteY22" fmla="*/ 735827 h 1898273"/>
                <a:gd name="connsiteX23" fmla="*/ 368 w 1170467"/>
                <a:gd name="connsiteY23" fmla="*/ 601286 h 1898273"/>
                <a:gd name="connsiteX24" fmla="*/ 11480 w 1170467"/>
                <a:gd name="connsiteY24" fmla="*/ 475873 h 1898273"/>
                <a:gd name="connsiteX25" fmla="*/ 81330 w 1170467"/>
                <a:gd name="connsiteY25" fmla="*/ 285373 h 1898273"/>
                <a:gd name="connsiteX26" fmla="*/ 265480 w 1170467"/>
                <a:gd name="connsiteY26" fmla="*/ 93285 h 1898273"/>
                <a:gd name="connsiteX27" fmla="*/ 519480 w 1170467"/>
                <a:gd name="connsiteY27" fmla="*/ 3990 h 1898273"/>
                <a:gd name="connsiteX28" fmla="*/ 705218 w 1170467"/>
                <a:gd name="connsiteY28" fmla="*/ 10736 h 1898273"/>
                <a:gd name="connsiteX29" fmla="*/ 943343 w 1170467"/>
                <a:gd name="connsiteY29" fmla="*/ 121861 h 1898273"/>
                <a:gd name="connsiteX30" fmla="*/ 1100505 w 1170467"/>
                <a:gd name="connsiteY30" fmla="*/ 310773 h 1898273"/>
                <a:gd name="connsiteX31" fmla="*/ 1164799 w 1170467"/>
                <a:gd name="connsiteY31" fmla="*/ 512783 h 1898273"/>
                <a:gd name="connsiteX32" fmla="*/ 1165196 w 1170467"/>
                <a:gd name="connsiteY32" fmla="*/ 683836 h 1898273"/>
                <a:gd name="connsiteX33" fmla="*/ 1085027 w 1170467"/>
                <a:gd name="connsiteY33" fmla="*/ 889020 h 1898273"/>
                <a:gd name="connsiteX34" fmla="*/ 950487 w 1170467"/>
                <a:gd name="connsiteY34" fmla="*/ 1054914 h 1898273"/>
                <a:gd name="connsiteX35" fmla="*/ 914768 w 1170467"/>
                <a:gd name="connsiteY35" fmla="*/ 1118811 h 1898273"/>
                <a:gd name="connsiteX36" fmla="*/ 900480 w 1170467"/>
                <a:gd name="connsiteY36" fmla="*/ 1177152 h 1898273"/>
                <a:gd name="connsiteX37" fmla="*/ 898100 w 1170467"/>
                <a:gd name="connsiteY37" fmla="*/ 1258908 h 1898273"/>
                <a:gd name="connsiteX38" fmla="*/ 858014 w 1170467"/>
                <a:gd name="connsiteY38" fmla="*/ 1301373 h 1898273"/>
                <a:gd name="connsiteX39" fmla="*/ 641718 w 1170467"/>
                <a:gd name="connsiteY39" fmla="*/ 1301373 h 1898273"/>
                <a:gd name="connsiteX40" fmla="*/ 590918 w 1170467"/>
                <a:gd name="connsiteY40" fmla="*/ 1279148 h 1898273"/>
                <a:gd name="connsiteX41" fmla="*/ 590918 w 1170467"/>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88142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 name="connsiteX0" fmla="*/ 584993 w 1170892"/>
                <a:gd name="connsiteY0" fmla="*/ 1898273 h 1898273"/>
                <a:gd name="connsiteX1" fmla="*/ 581818 w 1170892"/>
                <a:gd name="connsiteY1" fmla="*/ 1768098 h 1898273"/>
                <a:gd name="connsiteX2" fmla="*/ 513555 w 1170892"/>
                <a:gd name="connsiteY2" fmla="*/ 1726030 h 1898273"/>
                <a:gd name="connsiteX3" fmla="*/ 470693 w 1170892"/>
                <a:gd name="connsiteY3" fmla="*/ 1680389 h 1898273"/>
                <a:gd name="connsiteX4" fmla="*/ 505618 w 1170892"/>
                <a:gd name="connsiteY4" fmla="*/ 1644273 h 1898273"/>
                <a:gd name="connsiteX5" fmla="*/ 718343 w 1170892"/>
                <a:gd name="connsiteY5" fmla="*/ 1644273 h 1898273"/>
                <a:gd name="connsiteX6" fmla="*/ 749299 w 1170892"/>
                <a:gd name="connsiteY6" fmla="*/ 1603792 h 1898273"/>
                <a:gd name="connsiteX7" fmla="*/ 716755 w 1170892"/>
                <a:gd name="connsiteY7" fmla="*/ 1561327 h 1898273"/>
                <a:gd name="connsiteX8" fmla="*/ 399255 w 1170892"/>
                <a:gd name="connsiteY8" fmla="*/ 1560136 h 1898273"/>
                <a:gd name="connsiteX9" fmla="*/ 361155 w 1170892"/>
                <a:gd name="connsiteY9" fmla="*/ 1522036 h 1898273"/>
                <a:gd name="connsiteX10" fmla="*/ 394095 w 1170892"/>
                <a:gd name="connsiteY10" fmla="*/ 1476793 h 1898273"/>
                <a:gd name="connsiteX11" fmla="*/ 797718 w 1170892"/>
                <a:gd name="connsiteY11" fmla="*/ 1474411 h 1898273"/>
                <a:gd name="connsiteX12" fmla="*/ 828674 w 1170892"/>
                <a:gd name="connsiteY12" fmla="*/ 1425595 h 1898273"/>
                <a:gd name="connsiteX13" fmla="*/ 796130 w 1170892"/>
                <a:gd name="connsiteY13" fmla="*/ 1383923 h 1898273"/>
                <a:gd name="connsiteX14" fmla="*/ 386555 w 1170892"/>
                <a:gd name="connsiteY14" fmla="*/ 1383923 h 1898273"/>
                <a:gd name="connsiteX15" fmla="*/ 323055 w 1170892"/>
                <a:gd name="connsiteY15" fmla="*/ 1352173 h 1898273"/>
                <a:gd name="connsiteX16" fmla="*/ 283765 w 1170892"/>
                <a:gd name="connsiteY16" fmla="*/ 1300183 h 1898273"/>
                <a:gd name="connsiteX17" fmla="*/ 272255 w 1170892"/>
                <a:gd name="connsiteY17" fmla="*/ 1207711 h 1898273"/>
                <a:gd name="connsiteX18" fmla="*/ 256380 w 1170892"/>
                <a:gd name="connsiteY18" fmla="*/ 1128336 h 1898273"/>
                <a:gd name="connsiteX19" fmla="*/ 205580 w 1170892"/>
                <a:gd name="connsiteY19" fmla="*/ 1037848 h 1898273"/>
                <a:gd name="connsiteX20" fmla="*/ 130968 w 1170892"/>
                <a:gd name="connsiteY20" fmla="*/ 955298 h 1898273"/>
                <a:gd name="connsiteX21" fmla="*/ 55562 w 1170892"/>
                <a:gd name="connsiteY21" fmla="*/ 845364 h 1898273"/>
                <a:gd name="connsiteX22" fmla="*/ 14286 w 1170892"/>
                <a:gd name="connsiteY22" fmla="*/ 735827 h 1898273"/>
                <a:gd name="connsiteX23" fmla="*/ 793 w 1170892"/>
                <a:gd name="connsiteY23" fmla="*/ 601286 h 1898273"/>
                <a:gd name="connsiteX24" fmla="*/ 9524 w 1170892"/>
                <a:gd name="connsiteY24" fmla="*/ 475873 h 1898273"/>
                <a:gd name="connsiteX25" fmla="*/ 81755 w 1170892"/>
                <a:gd name="connsiteY25" fmla="*/ 285373 h 1898273"/>
                <a:gd name="connsiteX26" fmla="*/ 265905 w 1170892"/>
                <a:gd name="connsiteY26" fmla="*/ 93285 h 1898273"/>
                <a:gd name="connsiteX27" fmla="*/ 519905 w 1170892"/>
                <a:gd name="connsiteY27" fmla="*/ 3990 h 1898273"/>
                <a:gd name="connsiteX28" fmla="*/ 705643 w 1170892"/>
                <a:gd name="connsiteY28" fmla="*/ 10736 h 1898273"/>
                <a:gd name="connsiteX29" fmla="*/ 943768 w 1170892"/>
                <a:gd name="connsiteY29" fmla="*/ 121861 h 1898273"/>
                <a:gd name="connsiteX30" fmla="*/ 1100930 w 1170892"/>
                <a:gd name="connsiteY30" fmla="*/ 310773 h 1898273"/>
                <a:gd name="connsiteX31" fmla="*/ 1165224 w 1170892"/>
                <a:gd name="connsiteY31" fmla="*/ 512783 h 1898273"/>
                <a:gd name="connsiteX32" fmla="*/ 1165621 w 1170892"/>
                <a:gd name="connsiteY32" fmla="*/ 683836 h 1898273"/>
                <a:gd name="connsiteX33" fmla="*/ 1085452 w 1170892"/>
                <a:gd name="connsiteY33" fmla="*/ 889020 h 1898273"/>
                <a:gd name="connsiteX34" fmla="*/ 950912 w 1170892"/>
                <a:gd name="connsiteY34" fmla="*/ 1054914 h 1898273"/>
                <a:gd name="connsiteX35" fmla="*/ 915193 w 1170892"/>
                <a:gd name="connsiteY35" fmla="*/ 1118811 h 1898273"/>
                <a:gd name="connsiteX36" fmla="*/ 900905 w 1170892"/>
                <a:gd name="connsiteY36" fmla="*/ 1177152 h 1898273"/>
                <a:gd name="connsiteX37" fmla="*/ 898525 w 1170892"/>
                <a:gd name="connsiteY37" fmla="*/ 1258908 h 1898273"/>
                <a:gd name="connsiteX38" fmla="*/ 858439 w 1170892"/>
                <a:gd name="connsiteY38" fmla="*/ 1301373 h 1898273"/>
                <a:gd name="connsiteX39" fmla="*/ 642143 w 1170892"/>
                <a:gd name="connsiteY39" fmla="*/ 1301373 h 1898273"/>
                <a:gd name="connsiteX40" fmla="*/ 591343 w 1170892"/>
                <a:gd name="connsiteY40" fmla="*/ 1279148 h 1898273"/>
                <a:gd name="connsiteX41" fmla="*/ 591343 w 1170892"/>
                <a:gd name="connsiteY41" fmla="*/ 1212473 h 18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170892" h="1898273">
                  <a:moveTo>
                    <a:pt x="584993" y="1898273"/>
                  </a:moveTo>
                  <a:cubicBezTo>
                    <a:pt x="583935" y="1854881"/>
                    <a:pt x="582876" y="1811490"/>
                    <a:pt x="581818" y="1768098"/>
                  </a:cubicBezTo>
                  <a:cubicBezTo>
                    <a:pt x="573352" y="1746931"/>
                    <a:pt x="562503" y="1729338"/>
                    <a:pt x="513555" y="1726030"/>
                  </a:cubicBezTo>
                  <a:cubicBezTo>
                    <a:pt x="487759" y="1721135"/>
                    <a:pt x="471487" y="1707906"/>
                    <a:pt x="470693" y="1680389"/>
                  </a:cubicBezTo>
                  <a:cubicBezTo>
                    <a:pt x="474793" y="1662398"/>
                    <a:pt x="478895" y="1650358"/>
                    <a:pt x="505618" y="1644273"/>
                  </a:cubicBezTo>
                  <a:lnTo>
                    <a:pt x="718343" y="1644273"/>
                  </a:lnTo>
                  <a:cubicBezTo>
                    <a:pt x="736202" y="1631970"/>
                    <a:pt x="744536" y="1626810"/>
                    <a:pt x="749299" y="1603792"/>
                  </a:cubicBezTo>
                  <a:cubicBezTo>
                    <a:pt x="745198" y="1586858"/>
                    <a:pt x="741097" y="1572308"/>
                    <a:pt x="716755" y="1561327"/>
                  </a:cubicBezTo>
                  <a:lnTo>
                    <a:pt x="399255" y="1560136"/>
                  </a:lnTo>
                  <a:cubicBezTo>
                    <a:pt x="375839" y="1555770"/>
                    <a:pt x="367902" y="1546642"/>
                    <a:pt x="361155" y="1522036"/>
                  </a:cubicBezTo>
                  <a:cubicBezTo>
                    <a:pt x="362610" y="1506161"/>
                    <a:pt x="365255" y="1491478"/>
                    <a:pt x="394095" y="1476793"/>
                  </a:cubicBezTo>
                  <a:lnTo>
                    <a:pt x="797718" y="1474411"/>
                  </a:lnTo>
                  <a:cubicBezTo>
                    <a:pt x="819546" y="1463299"/>
                    <a:pt x="827088" y="1449805"/>
                    <a:pt x="828674" y="1425595"/>
                  </a:cubicBezTo>
                  <a:cubicBezTo>
                    <a:pt x="824177" y="1402972"/>
                    <a:pt x="825632" y="1399402"/>
                    <a:pt x="796130" y="1383923"/>
                  </a:cubicBezTo>
                  <a:lnTo>
                    <a:pt x="386555" y="1383923"/>
                  </a:lnTo>
                  <a:cubicBezTo>
                    <a:pt x="360625" y="1374530"/>
                    <a:pt x="343031" y="1368709"/>
                    <a:pt x="323055" y="1352173"/>
                  </a:cubicBezTo>
                  <a:cubicBezTo>
                    <a:pt x="314721" y="1341193"/>
                    <a:pt x="295670" y="1327832"/>
                    <a:pt x="283765" y="1300183"/>
                  </a:cubicBezTo>
                  <a:cubicBezTo>
                    <a:pt x="275166" y="1267772"/>
                    <a:pt x="274901" y="1238932"/>
                    <a:pt x="272255" y="1207711"/>
                  </a:cubicBezTo>
                  <a:lnTo>
                    <a:pt x="256380" y="1128336"/>
                  </a:lnTo>
                  <a:cubicBezTo>
                    <a:pt x="240241" y="1093410"/>
                    <a:pt x="227673" y="1070392"/>
                    <a:pt x="205580" y="1037848"/>
                  </a:cubicBezTo>
                  <a:cubicBezTo>
                    <a:pt x="184281" y="1006760"/>
                    <a:pt x="162982" y="981625"/>
                    <a:pt x="130968" y="955298"/>
                  </a:cubicBezTo>
                  <a:cubicBezTo>
                    <a:pt x="101071" y="924606"/>
                    <a:pt x="77125" y="886771"/>
                    <a:pt x="55562" y="845364"/>
                  </a:cubicBezTo>
                  <a:cubicBezTo>
                    <a:pt x="23150" y="783054"/>
                    <a:pt x="26457" y="770752"/>
                    <a:pt x="14286" y="735827"/>
                  </a:cubicBezTo>
                  <a:cubicBezTo>
                    <a:pt x="6217" y="686615"/>
                    <a:pt x="1322" y="648911"/>
                    <a:pt x="793" y="601286"/>
                  </a:cubicBezTo>
                  <a:cubicBezTo>
                    <a:pt x="-265" y="557894"/>
                    <a:pt x="-2118" y="514502"/>
                    <a:pt x="9524" y="475873"/>
                  </a:cubicBezTo>
                  <a:cubicBezTo>
                    <a:pt x="20107" y="409198"/>
                    <a:pt x="44184" y="347286"/>
                    <a:pt x="81755" y="285373"/>
                  </a:cubicBezTo>
                  <a:cubicBezTo>
                    <a:pt x="130438" y="213406"/>
                    <a:pt x="185472" y="143027"/>
                    <a:pt x="265905" y="93285"/>
                  </a:cubicBezTo>
                  <a:cubicBezTo>
                    <a:pt x="333638" y="48306"/>
                    <a:pt x="420819" y="15632"/>
                    <a:pt x="519905" y="3990"/>
                  </a:cubicBezTo>
                  <a:cubicBezTo>
                    <a:pt x="584200" y="-2095"/>
                    <a:pt x="644921" y="-2228"/>
                    <a:pt x="705643" y="10736"/>
                  </a:cubicBezTo>
                  <a:cubicBezTo>
                    <a:pt x="805259" y="37062"/>
                    <a:pt x="872727" y="72912"/>
                    <a:pt x="943768" y="121861"/>
                  </a:cubicBezTo>
                  <a:cubicBezTo>
                    <a:pt x="1009252" y="178879"/>
                    <a:pt x="1058067" y="229942"/>
                    <a:pt x="1100930" y="310773"/>
                  </a:cubicBezTo>
                  <a:cubicBezTo>
                    <a:pt x="1137046" y="378506"/>
                    <a:pt x="1160063" y="439096"/>
                    <a:pt x="1165224" y="512783"/>
                  </a:cubicBezTo>
                  <a:cubicBezTo>
                    <a:pt x="1174881" y="568213"/>
                    <a:pt x="1170250" y="629597"/>
                    <a:pt x="1165621" y="683836"/>
                  </a:cubicBezTo>
                  <a:cubicBezTo>
                    <a:pt x="1151202" y="755009"/>
                    <a:pt x="1129637" y="822609"/>
                    <a:pt x="1085452" y="889020"/>
                  </a:cubicBezTo>
                  <a:cubicBezTo>
                    <a:pt x="1047749" y="946699"/>
                    <a:pt x="994569" y="992472"/>
                    <a:pt x="950912" y="1054914"/>
                  </a:cubicBezTo>
                  <a:cubicBezTo>
                    <a:pt x="937021" y="1078197"/>
                    <a:pt x="923130" y="1091956"/>
                    <a:pt x="915193" y="1118811"/>
                  </a:cubicBezTo>
                  <a:cubicBezTo>
                    <a:pt x="906065" y="1147386"/>
                    <a:pt x="904080" y="1158102"/>
                    <a:pt x="900905" y="1177152"/>
                  </a:cubicBezTo>
                  <a:cubicBezTo>
                    <a:pt x="898920" y="1217501"/>
                    <a:pt x="899319" y="1230465"/>
                    <a:pt x="898525" y="1258908"/>
                  </a:cubicBezTo>
                  <a:cubicBezTo>
                    <a:pt x="898260" y="1276635"/>
                    <a:pt x="886089" y="1291981"/>
                    <a:pt x="858439" y="1301373"/>
                  </a:cubicBezTo>
                  <a:lnTo>
                    <a:pt x="642143" y="1301373"/>
                  </a:lnTo>
                  <a:cubicBezTo>
                    <a:pt x="604968" y="1298728"/>
                    <a:pt x="601133" y="1297271"/>
                    <a:pt x="591343" y="1279148"/>
                  </a:cubicBezTo>
                  <a:lnTo>
                    <a:pt x="591343" y="1212473"/>
                  </a:lnTo>
                </a:path>
              </a:pathLst>
            </a:custGeom>
            <a:noFill/>
            <a:ln w="25400" algn="ctr">
              <a:solidFill>
                <a:schemeClr val="accent1"/>
              </a:solidFill>
              <a:miter lim="800000"/>
              <a:headEnd type="none" w="sm" len="sm"/>
              <a:tailEnd type="oval" w="sm" len="sm"/>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ea typeface="+mn-ea"/>
                <a:cs typeface="+mn-cs"/>
              </a:endParaRPr>
            </a:p>
          </p:txBody>
        </p:sp>
        <p:sp>
          <p:nvSpPr>
            <p:cNvPr id="12" name="Round Same Side Corner Rectangle 37">
              <a:extLst>
                <a:ext uri="{FF2B5EF4-FFF2-40B4-BE49-F238E27FC236}">
                  <a16:creationId xmlns:a16="http://schemas.microsoft.com/office/drawing/2014/main" id="{DB5F5DA9-D403-4BB6-A326-6667C11561BF}"/>
                </a:ext>
              </a:extLst>
            </p:cNvPr>
            <p:cNvSpPr/>
            <p:nvPr/>
          </p:nvSpPr>
          <p:spPr bwMode="gray">
            <a:xfrm>
              <a:off x="9267337" y="5387646"/>
              <a:ext cx="295714" cy="267311"/>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ea typeface="+mn-ea"/>
                <a:cs typeface="+mn-cs"/>
              </a:endParaRPr>
            </a:p>
          </p:txBody>
        </p:sp>
        <p:sp>
          <p:nvSpPr>
            <p:cNvPr id="13" name="Round Same Side Corner Rectangle 38">
              <a:extLst>
                <a:ext uri="{FF2B5EF4-FFF2-40B4-BE49-F238E27FC236}">
                  <a16:creationId xmlns:a16="http://schemas.microsoft.com/office/drawing/2014/main" id="{13EF3BFA-9685-43DB-A875-6BA791CF56DD}"/>
                </a:ext>
              </a:extLst>
            </p:cNvPr>
            <p:cNvSpPr/>
            <p:nvPr/>
          </p:nvSpPr>
          <p:spPr bwMode="gray">
            <a:xfrm flipV="1">
              <a:off x="9325972" y="5654960"/>
              <a:ext cx="53648" cy="111910"/>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ea typeface="+mn-ea"/>
                <a:cs typeface="+mn-cs"/>
              </a:endParaRPr>
            </a:p>
          </p:txBody>
        </p:sp>
        <p:sp>
          <p:nvSpPr>
            <p:cNvPr id="14" name="Round Same Side Corner Rectangle 39">
              <a:extLst>
                <a:ext uri="{FF2B5EF4-FFF2-40B4-BE49-F238E27FC236}">
                  <a16:creationId xmlns:a16="http://schemas.microsoft.com/office/drawing/2014/main" id="{E69A3EB8-FF51-4E4B-A147-F557A9012078}"/>
                </a:ext>
              </a:extLst>
            </p:cNvPr>
            <p:cNvSpPr/>
            <p:nvPr/>
          </p:nvSpPr>
          <p:spPr bwMode="gray">
            <a:xfrm flipV="1">
              <a:off x="9452707" y="5654960"/>
              <a:ext cx="53648" cy="111910"/>
            </a:xfrm>
            <a:prstGeom prst="round2SameRect">
              <a:avLst>
                <a:gd name="adj1" fmla="val 50000"/>
                <a:gd name="adj2" fmla="val 0"/>
              </a:avLst>
            </a:prstGeom>
            <a:solidFill>
              <a:schemeClr val="accent3"/>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ea typeface="+mn-ea"/>
                <a:cs typeface="+mn-cs"/>
              </a:endParaRPr>
            </a:p>
          </p:txBody>
        </p:sp>
        <p:sp>
          <p:nvSpPr>
            <p:cNvPr id="15" name="Oval 14">
              <a:extLst>
                <a:ext uri="{FF2B5EF4-FFF2-40B4-BE49-F238E27FC236}">
                  <a16:creationId xmlns:a16="http://schemas.microsoft.com/office/drawing/2014/main" id="{008737F7-8812-4312-B9A2-CA7407484742}"/>
                </a:ext>
              </a:extLst>
            </p:cNvPr>
            <p:cNvSpPr/>
            <p:nvPr/>
          </p:nvSpPr>
          <p:spPr bwMode="gray">
            <a:xfrm>
              <a:off x="9369444" y="5476766"/>
              <a:ext cx="91497" cy="89071"/>
            </a:xfrm>
            <a:prstGeom prst="ellipse">
              <a:avLst/>
            </a:prstGeom>
            <a:solidFill>
              <a:schemeClr val="bg1"/>
            </a:solidFill>
            <a:ln w="19050" algn="ctr">
              <a:noFill/>
              <a:miter lim="800000"/>
              <a:headEnd/>
              <a:tailEnd/>
            </a:ln>
          </p:spPr>
          <p:txBody>
            <a:bodyPr wrap="square" lIns="66675" tIns="66675" rIns="66675" bIns="66675"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100" b="0" i="0" u="none" strike="noStrike" kern="1200" cap="none" spc="0" normalizeH="0" baseline="0" noProof="0" dirty="0">
                <a:ln>
                  <a:noFill/>
                </a:ln>
                <a:solidFill>
                  <a:prstClr val="white"/>
                </a:solidFill>
                <a:effectLst/>
                <a:uLnTx/>
                <a:uFillTx/>
                <a:ea typeface="+mn-ea"/>
                <a:cs typeface="+mn-cs"/>
              </a:endParaRPr>
            </a:p>
          </p:txBody>
        </p:sp>
        <p:sp>
          <p:nvSpPr>
            <p:cNvPr id="25" name="Oval 24"/>
            <p:cNvSpPr/>
            <p:nvPr/>
          </p:nvSpPr>
          <p:spPr bwMode="gray">
            <a:xfrm>
              <a:off x="8078383" y="935567"/>
              <a:ext cx="2673618" cy="2673618"/>
            </a:xfrm>
            <a:prstGeom prst="ellipse">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7" name="Oval 26"/>
            <p:cNvSpPr/>
            <p:nvPr/>
          </p:nvSpPr>
          <p:spPr bwMode="gray">
            <a:xfrm>
              <a:off x="8264219" y="1115752"/>
              <a:ext cx="2313248" cy="2313248"/>
            </a:xfrm>
            <a:prstGeom prst="ellipse">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Freeform 364">
              <a:extLst>
                <a:ext uri="{FF2B5EF4-FFF2-40B4-BE49-F238E27FC236}">
                  <a16:creationId xmlns:a16="http://schemas.microsoft.com/office/drawing/2014/main" id="{AC815D84-E767-4EE4-B900-1D9EBE79D4E9}"/>
                </a:ext>
              </a:extLst>
            </p:cNvPr>
            <p:cNvSpPr>
              <a:spLocks noChangeAspect="1" noEditPoints="1"/>
            </p:cNvSpPr>
            <p:nvPr/>
          </p:nvSpPr>
          <p:spPr bwMode="auto">
            <a:xfrm>
              <a:off x="8264219" y="1115752"/>
              <a:ext cx="2320050" cy="2313248"/>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8" name="Group 67"/>
          <p:cNvGrpSpPr/>
          <p:nvPr/>
        </p:nvGrpSpPr>
        <p:grpSpPr>
          <a:xfrm>
            <a:off x="562234" y="1006655"/>
            <a:ext cx="6772016" cy="4380992"/>
            <a:chOff x="562234" y="1006654"/>
            <a:chExt cx="5518126" cy="4470111"/>
          </a:xfrm>
        </p:grpSpPr>
        <p:sp>
          <p:nvSpPr>
            <p:cNvPr id="29" name="Rectangle 28"/>
            <p:cNvSpPr/>
            <p:nvPr/>
          </p:nvSpPr>
          <p:spPr bwMode="gray">
            <a:xfrm>
              <a:off x="562237" y="1024909"/>
              <a:ext cx="4624172" cy="620593"/>
            </a:xfrm>
            <a:prstGeom prst="rect">
              <a:avLst/>
            </a:prstGeom>
            <a:solidFill>
              <a:schemeClr val="bg1">
                <a:lumMod val="95000"/>
              </a:schemeClr>
            </a:solidFill>
            <a:ln w="19050" algn="ctr">
              <a:noFill/>
              <a:miter lim="800000"/>
              <a:headEnd/>
              <a:tailEnd/>
            </a:ln>
          </p:spPr>
          <p:txBody>
            <a:bodyPr wrap="square" lIns="88900" tIns="88900" rIns="88900" bIns="8890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spcBef>
                  <a:spcPts val="300"/>
                </a:spcBef>
              </a:pPr>
              <a:r>
                <a:rPr lang="en-US" sz="1800" b="1" dirty="0">
                  <a:solidFill>
                    <a:schemeClr val="accent1"/>
                  </a:solidFill>
                  <a:cs typeface="Calibri" panose="020F0502020204030204" pitchFamily="34" charset="0"/>
                </a:rPr>
                <a:t>The Energy Sector of Liberia</a:t>
              </a:r>
            </a:p>
          </p:txBody>
        </p:sp>
        <p:cxnSp>
          <p:nvCxnSpPr>
            <p:cNvPr id="30" name="Straight Connector 29"/>
            <p:cNvCxnSpPr/>
            <p:nvPr/>
          </p:nvCxnSpPr>
          <p:spPr>
            <a:xfrm>
              <a:off x="562234" y="1006654"/>
              <a:ext cx="0" cy="620587"/>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gray">
            <a:xfrm>
              <a:off x="5063460" y="1024909"/>
              <a:ext cx="644946" cy="616510"/>
            </a:xfrm>
            <a:prstGeom prst="rect">
              <a:avLst/>
            </a:prstGeom>
            <a:solidFill>
              <a:schemeClr val="bg1">
                <a:lumMod val="85000"/>
              </a:schemeClr>
            </a:solidFill>
            <a:ln w="19050" algn="ctr">
              <a:noFill/>
              <a:miter lim="800000"/>
              <a:headEnd/>
              <a:tailEnd/>
            </a:ln>
          </p:spPr>
          <p:txBody>
            <a:bodyPr wrap="square" lIns="0" tIns="0" rIns="0" bIns="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lgn="ctr">
                <a:spcBef>
                  <a:spcPts val="300"/>
                </a:spcBef>
              </a:pPr>
              <a:r>
                <a:rPr lang="en-GB" sz="1800" dirty="0">
                  <a:solidFill>
                    <a:schemeClr val="accent1"/>
                  </a:solidFill>
                  <a:cs typeface="Calibri" panose="020F0502020204030204" pitchFamily="34" charset="0"/>
                </a:rPr>
                <a:t>P.4</a:t>
              </a:r>
            </a:p>
          </p:txBody>
        </p:sp>
        <p:cxnSp>
          <p:nvCxnSpPr>
            <p:cNvPr id="32" name="Straight Connector 31"/>
            <p:cNvCxnSpPr/>
            <p:nvPr/>
          </p:nvCxnSpPr>
          <p:spPr>
            <a:xfrm>
              <a:off x="5714999" y="1024909"/>
              <a:ext cx="1" cy="61187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bwMode="gray">
            <a:xfrm>
              <a:off x="562237" y="1997390"/>
              <a:ext cx="4624172" cy="59223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spcBef>
                  <a:spcPts val="300"/>
                </a:spcBef>
              </a:pPr>
              <a:r>
                <a:rPr lang="en-GB" sz="1800" b="1" dirty="0">
                  <a:solidFill>
                    <a:srgbClr val="00A3E0"/>
                  </a:solidFill>
                  <a:cs typeface="Calibri" panose="020F0502020204030204" pitchFamily="34" charset="0"/>
                </a:rPr>
                <a:t>Contributions of Development Partners</a:t>
              </a:r>
            </a:p>
          </p:txBody>
        </p:sp>
        <p:cxnSp>
          <p:nvCxnSpPr>
            <p:cNvPr id="34" name="Straight Connector 33"/>
            <p:cNvCxnSpPr/>
            <p:nvPr/>
          </p:nvCxnSpPr>
          <p:spPr>
            <a:xfrm>
              <a:off x="562234" y="1969034"/>
              <a:ext cx="0" cy="620587"/>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gray">
            <a:xfrm>
              <a:off x="5063460" y="1987295"/>
              <a:ext cx="644946" cy="603506"/>
            </a:xfrm>
            <a:prstGeom prst="rect">
              <a:avLst/>
            </a:prstGeom>
            <a:solidFill>
              <a:schemeClr val="bg1">
                <a:lumMod val="85000"/>
              </a:schemeClr>
            </a:solidFill>
            <a:ln w="19050" algn="ctr">
              <a:noFill/>
              <a:miter lim="800000"/>
              <a:headEnd/>
              <a:tailEnd/>
            </a:ln>
          </p:spPr>
          <p:txBody>
            <a:bodyPr wrap="square" lIns="0" tIns="0" rIns="0" bIns="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lgn="ctr">
                <a:spcBef>
                  <a:spcPts val="300"/>
                </a:spcBef>
              </a:pPr>
              <a:r>
                <a:rPr lang="en-GB" sz="1800" dirty="0">
                  <a:solidFill>
                    <a:srgbClr val="00A3E0"/>
                  </a:solidFill>
                  <a:cs typeface="Calibri" panose="020F0502020204030204" pitchFamily="34" charset="0"/>
                </a:rPr>
                <a:t>P.6</a:t>
              </a:r>
            </a:p>
          </p:txBody>
        </p:sp>
        <p:cxnSp>
          <p:nvCxnSpPr>
            <p:cNvPr id="36" name="Straight Connector 35"/>
            <p:cNvCxnSpPr/>
            <p:nvPr/>
          </p:nvCxnSpPr>
          <p:spPr>
            <a:xfrm>
              <a:off x="5714999" y="1987686"/>
              <a:ext cx="0" cy="603114"/>
            </a:xfrm>
            <a:prstGeom prst="line">
              <a:avLst/>
            </a:prstGeom>
            <a:ln w="19050">
              <a:solidFill>
                <a:srgbClr val="00A3E0"/>
              </a:solidFill>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gray">
            <a:xfrm>
              <a:off x="562237" y="2945586"/>
              <a:ext cx="4624172" cy="606421"/>
            </a:xfrm>
            <a:prstGeom prst="rect">
              <a:avLst/>
            </a:prstGeom>
            <a:solidFill>
              <a:schemeClr val="bg1">
                <a:lumMod val="95000"/>
              </a:schemeClr>
            </a:solidFill>
            <a:ln w="19050" algn="ctr">
              <a:noFill/>
              <a:miter lim="800000"/>
              <a:headEnd/>
              <a:tailEnd/>
            </a:ln>
          </p:spPr>
          <p:txBody>
            <a:bodyPr wrap="square" lIns="88900" tIns="88900" rIns="88900" bIns="8890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spcBef>
                  <a:spcPts val="300"/>
                </a:spcBef>
              </a:pPr>
              <a:r>
                <a:rPr lang="en-US" sz="1800" b="1" dirty="0">
                  <a:solidFill>
                    <a:srgbClr val="009A44"/>
                  </a:solidFill>
                  <a:cs typeface="Calibri" panose="020F0502020204030204" pitchFamily="34" charset="0"/>
                </a:rPr>
                <a:t>Why the Private Sector Needs to Invest</a:t>
              </a:r>
            </a:p>
          </p:txBody>
        </p:sp>
        <p:cxnSp>
          <p:nvCxnSpPr>
            <p:cNvPr id="38" name="Straight Connector 37"/>
            <p:cNvCxnSpPr/>
            <p:nvPr/>
          </p:nvCxnSpPr>
          <p:spPr>
            <a:xfrm>
              <a:off x="562234" y="2931413"/>
              <a:ext cx="0" cy="620587"/>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bwMode="gray">
            <a:xfrm>
              <a:off x="5063460" y="2949670"/>
              <a:ext cx="644946" cy="602329"/>
            </a:xfrm>
            <a:prstGeom prst="rect">
              <a:avLst/>
            </a:prstGeom>
            <a:solidFill>
              <a:schemeClr val="bg1">
                <a:lumMod val="85000"/>
              </a:schemeClr>
            </a:solidFill>
            <a:ln w="19050" algn="ctr">
              <a:noFill/>
              <a:miter lim="800000"/>
              <a:headEnd/>
              <a:tailEnd/>
            </a:ln>
          </p:spPr>
          <p:txBody>
            <a:bodyPr wrap="square" lIns="88900" tIns="88900" rIns="88900" bIns="8890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lgn="ctr">
                <a:spcBef>
                  <a:spcPts val="300"/>
                </a:spcBef>
              </a:pPr>
              <a:r>
                <a:rPr lang="en-GB" sz="1800" dirty="0">
                  <a:solidFill>
                    <a:srgbClr val="009A44"/>
                  </a:solidFill>
                  <a:cs typeface="Calibri" panose="020F0502020204030204" pitchFamily="34" charset="0"/>
                </a:rPr>
                <a:t>P.8</a:t>
              </a:r>
            </a:p>
          </p:txBody>
        </p:sp>
        <p:cxnSp>
          <p:nvCxnSpPr>
            <p:cNvPr id="40" name="Straight Connector 39"/>
            <p:cNvCxnSpPr/>
            <p:nvPr/>
          </p:nvCxnSpPr>
          <p:spPr>
            <a:xfrm>
              <a:off x="5714999" y="2949670"/>
              <a:ext cx="0" cy="602329"/>
            </a:xfrm>
            <a:prstGeom prst="line">
              <a:avLst/>
            </a:prstGeom>
            <a:ln w="19050">
              <a:solidFill>
                <a:srgbClr val="009A44"/>
              </a:solidFil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bwMode="gray">
            <a:xfrm>
              <a:off x="562237" y="3922149"/>
              <a:ext cx="4624172" cy="59223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spcBef>
                  <a:spcPts val="300"/>
                </a:spcBef>
              </a:pPr>
              <a:r>
                <a:rPr lang="en-GB" sz="1800" b="1" dirty="0">
                  <a:solidFill>
                    <a:srgbClr val="0076A8"/>
                  </a:solidFill>
                  <a:cs typeface="Calibri" panose="020F0502020204030204" pitchFamily="34" charset="0"/>
                </a:rPr>
                <a:t>Opportunities Amidst Challenges</a:t>
              </a:r>
            </a:p>
          </p:txBody>
        </p:sp>
        <p:cxnSp>
          <p:nvCxnSpPr>
            <p:cNvPr id="42" name="Straight Connector 41"/>
            <p:cNvCxnSpPr/>
            <p:nvPr/>
          </p:nvCxnSpPr>
          <p:spPr>
            <a:xfrm>
              <a:off x="562234" y="3893793"/>
              <a:ext cx="0" cy="620587"/>
            </a:xfrm>
            <a:prstGeom prst="line">
              <a:avLst/>
            </a:prstGeom>
            <a:ln w="19050">
              <a:solidFill>
                <a:srgbClr val="308EB6"/>
              </a:solidFill>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gray">
            <a:xfrm>
              <a:off x="5063460" y="3922138"/>
              <a:ext cx="644946" cy="590888"/>
            </a:xfrm>
            <a:prstGeom prst="rect">
              <a:avLst/>
            </a:prstGeom>
            <a:solidFill>
              <a:schemeClr val="bg1">
                <a:lumMod val="85000"/>
              </a:schemeClr>
            </a:solidFill>
            <a:ln w="19050" algn="ctr">
              <a:noFill/>
              <a:miter lim="800000"/>
              <a:headEnd/>
              <a:tailEnd/>
            </a:ln>
          </p:spPr>
          <p:txBody>
            <a:bodyPr wrap="square" lIns="0" tIns="0" rIns="0" bIns="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lgn="ctr">
                <a:spcBef>
                  <a:spcPts val="300"/>
                </a:spcBef>
              </a:pPr>
              <a:r>
                <a:rPr lang="en-GB" sz="1800" dirty="0">
                  <a:solidFill>
                    <a:srgbClr val="0076A8"/>
                  </a:solidFill>
                  <a:cs typeface="Calibri" panose="020F0502020204030204" pitchFamily="34" charset="0"/>
                </a:rPr>
                <a:t>P.10</a:t>
              </a:r>
            </a:p>
          </p:txBody>
        </p:sp>
        <p:cxnSp>
          <p:nvCxnSpPr>
            <p:cNvPr id="44" name="Straight Connector 43"/>
            <p:cNvCxnSpPr/>
            <p:nvPr/>
          </p:nvCxnSpPr>
          <p:spPr>
            <a:xfrm>
              <a:off x="5714999" y="3922138"/>
              <a:ext cx="0" cy="588146"/>
            </a:xfrm>
            <a:prstGeom prst="line">
              <a:avLst/>
            </a:prstGeom>
            <a:ln w="19050">
              <a:solidFill>
                <a:srgbClr val="308EB6"/>
              </a:solidFill>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bwMode="gray">
            <a:xfrm>
              <a:off x="562237" y="4884526"/>
              <a:ext cx="4624172" cy="59223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spcBef>
                  <a:spcPts val="300"/>
                </a:spcBef>
              </a:pPr>
              <a:r>
                <a:rPr lang="en-GB" sz="1800" b="1" dirty="0">
                  <a:cs typeface="Calibri" panose="020F0502020204030204" pitchFamily="34" charset="0"/>
                </a:rPr>
                <a:t>Necessary Regulations for Investment</a:t>
              </a:r>
            </a:p>
          </p:txBody>
        </p:sp>
        <p:cxnSp>
          <p:nvCxnSpPr>
            <p:cNvPr id="46" name="Straight Connector 45"/>
            <p:cNvCxnSpPr/>
            <p:nvPr/>
          </p:nvCxnSpPr>
          <p:spPr>
            <a:xfrm>
              <a:off x="562234" y="4856173"/>
              <a:ext cx="0" cy="62058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bwMode="gray">
            <a:xfrm>
              <a:off x="5063460" y="4880442"/>
              <a:ext cx="644946" cy="596317"/>
            </a:xfrm>
            <a:prstGeom prst="rect">
              <a:avLst/>
            </a:prstGeom>
            <a:solidFill>
              <a:schemeClr val="bg1">
                <a:lumMod val="85000"/>
              </a:schemeClr>
            </a:solidFill>
            <a:ln w="19050" algn="ctr">
              <a:noFill/>
              <a:miter lim="800000"/>
              <a:headEnd/>
              <a:tailEnd/>
            </a:ln>
          </p:spPr>
          <p:txBody>
            <a:bodyPr wrap="square" lIns="0" tIns="0" rIns="0" bIns="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lgn="ctr">
                <a:spcBef>
                  <a:spcPts val="300"/>
                </a:spcBef>
              </a:pPr>
              <a:r>
                <a:rPr lang="en-GB" sz="1800" dirty="0">
                  <a:cs typeface="Calibri" panose="020F0502020204030204" pitchFamily="34" charset="0"/>
                </a:rPr>
                <a:t>P.12</a:t>
              </a:r>
            </a:p>
          </p:txBody>
        </p:sp>
        <p:cxnSp>
          <p:nvCxnSpPr>
            <p:cNvPr id="48" name="Straight Connector 47"/>
            <p:cNvCxnSpPr/>
            <p:nvPr/>
          </p:nvCxnSpPr>
          <p:spPr>
            <a:xfrm>
              <a:off x="5714999" y="4880442"/>
              <a:ext cx="0" cy="59631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Pentagon 49"/>
            <p:cNvSpPr/>
            <p:nvPr/>
          </p:nvSpPr>
          <p:spPr bwMode="gray">
            <a:xfrm>
              <a:off x="5738702" y="1024914"/>
              <a:ext cx="341658" cy="611873"/>
            </a:xfrm>
            <a:prstGeom prst="homePlate">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endParaRPr>
            </a:p>
          </p:txBody>
        </p:sp>
        <p:sp>
          <p:nvSpPr>
            <p:cNvPr id="53" name="Pentagon 52"/>
            <p:cNvSpPr/>
            <p:nvPr/>
          </p:nvSpPr>
          <p:spPr bwMode="gray">
            <a:xfrm>
              <a:off x="5738702" y="1986760"/>
              <a:ext cx="341658" cy="602862"/>
            </a:xfrm>
            <a:prstGeom prst="homePlate">
              <a:avLst/>
            </a:prstGeom>
            <a:solidFill>
              <a:srgbClr val="00A3E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endParaRPr>
            </a:p>
          </p:txBody>
        </p:sp>
        <p:sp>
          <p:nvSpPr>
            <p:cNvPr id="54" name="Pentagon 53"/>
            <p:cNvSpPr/>
            <p:nvPr/>
          </p:nvSpPr>
          <p:spPr bwMode="gray">
            <a:xfrm>
              <a:off x="5730007" y="2951838"/>
              <a:ext cx="341658" cy="603532"/>
            </a:xfrm>
            <a:prstGeom prst="homePlate">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endParaRPr>
            </a:p>
          </p:txBody>
        </p:sp>
        <p:sp>
          <p:nvSpPr>
            <p:cNvPr id="63" name="Pentagon 62"/>
            <p:cNvSpPr/>
            <p:nvPr/>
          </p:nvSpPr>
          <p:spPr bwMode="gray">
            <a:xfrm>
              <a:off x="5730007" y="3921927"/>
              <a:ext cx="341658" cy="588357"/>
            </a:xfrm>
            <a:prstGeom prst="homePlate">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endParaRPr>
            </a:p>
          </p:txBody>
        </p:sp>
        <p:sp>
          <p:nvSpPr>
            <p:cNvPr id="67" name="Pentagon 66"/>
            <p:cNvSpPr/>
            <p:nvPr/>
          </p:nvSpPr>
          <p:spPr bwMode="gray">
            <a:xfrm>
              <a:off x="5730007" y="4884526"/>
              <a:ext cx="341658" cy="592233"/>
            </a:xfrm>
            <a:prstGeom prst="homePlate">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endParaRPr>
            </a:p>
          </p:txBody>
        </p:sp>
      </p:grpSp>
      <p:sp>
        <p:nvSpPr>
          <p:cNvPr id="49" name="Rectangle 48"/>
          <p:cNvSpPr/>
          <p:nvPr/>
        </p:nvSpPr>
        <p:spPr bwMode="gray">
          <a:xfrm>
            <a:off x="562238" y="5741944"/>
            <a:ext cx="5674928" cy="592239"/>
          </a:xfrm>
          <a:prstGeom prst="rect">
            <a:avLst/>
          </a:prstGeom>
          <a:solidFill>
            <a:schemeClr val="bg1">
              <a:lumMod val="95000"/>
            </a:schemeClr>
          </a:solidFill>
          <a:ln w="19050" algn="ctr">
            <a:noFill/>
            <a:miter lim="800000"/>
            <a:headEnd/>
            <a:tailEnd/>
          </a:ln>
        </p:spPr>
        <p:txBody>
          <a:bodyPr wrap="square" lIns="88900" tIns="88900" rIns="88900" bIns="8890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spcBef>
                <a:spcPts val="300"/>
              </a:spcBef>
            </a:pPr>
            <a:r>
              <a:rPr lang="en-GB" sz="1800" b="1" dirty="0">
                <a:solidFill>
                  <a:srgbClr val="75787B"/>
                </a:solidFill>
                <a:cs typeface="Calibri" panose="020F0502020204030204" pitchFamily="34" charset="0"/>
              </a:rPr>
              <a:t>Deloitte’s Commitment</a:t>
            </a:r>
          </a:p>
        </p:txBody>
      </p:sp>
      <p:sp>
        <p:nvSpPr>
          <p:cNvPr id="51" name="Rectangle 50"/>
          <p:cNvSpPr/>
          <p:nvPr/>
        </p:nvSpPr>
        <p:spPr bwMode="gray">
          <a:xfrm>
            <a:off x="6086279" y="5732514"/>
            <a:ext cx="791498" cy="584428"/>
          </a:xfrm>
          <a:prstGeom prst="rect">
            <a:avLst/>
          </a:prstGeom>
          <a:solidFill>
            <a:schemeClr val="bg1">
              <a:lumMod val="85000"/>
            </a:schemeClr>
          </a:solidFill>
          <a:ln w="19050" algn="ctr">
            <a:noFill/>
            <a:miter lim="800000"/>
            <a:headEnd/>
            <a:tailEnd/>
          </a:ln>
        </p:spPr>
        <p:txBody>
          <a:bodyPr wrap="square" lIns="0" tIns="0" rIns="0" bIns="0" rtlCol="0" anchor="ctr"/>
          <a:lstStyle>
            <a:defPPr>
              <a:defRPr lang="en-US"/>
            </a:defPPr>
            <a:lvl1pPr marL="0" algn="l" defTabSz="723301" rtl="0" eaLnBrk="1" latinLnBrk="0" hangingPunct="1">
              <a:defRPr sz="1424" kern="1200">
                <a:solidFill>
                  <a:schemeClr val="tx1"/>
                </a:solidFill>
                <a:latin typeface="+mn-lt"/>
                <a:ea typeface="+mn-ea"/>
                <a:cs typeface="+mn-cs"/>
              </a:defRPr>
            </a:lvl1pPr>
            <a:lvl2pPr marL="361651" algn="l" defTabSz="723301" rtl="0" eaLnBrk="1" latinLnBrk="0" hangingPunct="1">
              <a:defRPr sz="1424" kern="1200">
                <a:solidFill>
                  <a:schemeClr val="tx1"/>
                </a:solidFill>
                <a:latin typeface="+mn-lt"/>
                <a:ea typeface="+mn-ea"/>
                <a:cs typeface="+mn-cs"/>
              </a:defRPr>
            </a:lvl2pPr>
            <a:lvl3pPr marL="723301" algn="l" defTabSz="723301" rtl="0" eaLnBrk="1" latinLnBrk="0" hangingPunct="1">
              <a:defRPr sz="1424" kern="1200">
                <a:solidFill>
                  <a:schemeClr val="tx1"/>
                </a:solidFill>
                <a:latin typeface="+mn-lt"/>
                <a:ea typeface="+mn-ea"/>
                <a:cs typeface="+mn-cs"/>
              </a:defRPr>
            </a:lvl3pPr>
            <a:lvl4pPr marL="1084952" algn="l" defTabSz="723301" rtl="0" eaLnBrk="1" latinLnBrk="0" hangingPunct="1">
              <a:defRPr sz="1424" kern="1200">
                <a:solidFill>
                  <a:schemeClr val="tx1"/>
                </a:solidFill>
                <a:latin typeface="+mn-lt"/>
                <a:ea typeface="+mn-ea"/>
                <a:cs typeface="+mn-cs"/>
              </a:defRPr>
            </a:lvl4pPr>
            <a:lvl5pPr marL="1446604" algn="l" defTabSz="723301" rtl="0" eaLnBrk="1" latinLnBrk="0" hangingPunct="1">
              <a:defRPr sz="1424" kern="1200">
                <a:solidFill>
                  <a:schemeClr val="tx1"/>
                </a:solidFill>
                <a:latin typeface="+mn-lt"/>
                <a:ea typeface="+mn-ea"/>
                <a:cs typeface="+mn-cs"/>
              </a:defRPr>
            </a:lvl5pPr>
            <a:lvl6pPr marL="1808254" algn="l" defTabSz="723301" rtl="0" eaLnBrk="1" latinLnBrk="0" hangingPunct="1">
              <a:defRPr sz="1424" kern="1200">
                <a:solidFill>
                  <a:schemeClr val="tx1"/>
                </a:solidFill>
                <a:latin typeface="+mn-lt"/>
                <a:ea typeface="+mn-ea"/>
                <a:cs typeface="+mn-cs"/>
              </a:defRPr>
            </a:lvl6pPr>
            <a:lvl7pPr marL="2169905" algn="l" defTabSz="723301" rtl="0" eaLnBrk="1" latinLnBrk="0" hangingPunct="1">
              <a:defRPr sz="1424" kern="1200">
                <a:solidFill>
                  <a:schemeClr val="tx1"/>
                </a:solidFill>
                <a:latin typeface="+mn-lt"/>
                <a:ea typeface="+mn-ea"/>
                <a:cs typeface="+mn-cs"/>
              </a:defRPr>
            </a:lvl7pPr>
            <a:lvl8pPr marL="2531555" algn="l" defTabSz="723301" rtl="0" eaLnBrk="1" latinLnBrk="0" hangingPunct="1">
              <a:defRPr sz="1424" kern="1200">
                <a:solidFill>
                  <a:schemeClr val="tx1"/>
                </a:solidFill>
                <a:latin typeface="+mn-lt"/>
                <a:ea typeface="+mn-ea"/>
                <a:cs typeface="+mn-cs"/>
              </a:defRPr>
            </a:lvl8pPr>
            <a:lvl9pPr marL="2893206" algn="l" defTabSz="723301" rtl="0" eaLnBrk="1" latinLnBrk="0" hangingPunct="1">
              <a:defRPr sz="1424" kern="1200">
                <a:solidFill>
                  <a:schemeClr val="tx1"/>
                </a:solidFill>
                <a:latin typeface="+mn-lt"/>
                <a:ea typeface="+mn-ea"/>
                <a:cs typeface="+mn-cs"/>
              </a:defRPr>
            </a:lvl9pPr>
          </a:lstStyle>
          <a:p>
            <a:pPr algn="ctr">
              <a:spcBef>
                <a:spcPts val="300"/>
              </a:spcBef>
            </a:pPr>
            <a:r>
              <a:rPr lang="en-GB" sz="1800" dirty="0">
                <a:cs typeface="Calibri" panose="020F0502020204030204" pitchFamily="34" charset="0"/>
              </a:rPr>
              <a:t>P.14</a:t>
            </a:r>
          </a:p>
        </p:txBody>
      </p:sp>
      <p:sp>
        <p:nvSpPr>
          <p:cNvPr id="52" name="Pentagon 51"/>
          <p:cNvSpPr/>
          <p:nvPr/>
        </p:nvSpPr>
        <p:spPr bwMode="gray">
          <a:xfrm>
            <a:off x="6906298" y="5732514"/>
            <a:ext cx="419293" cy="580426"/>
          </a:xfrm>
          <a:prstGeom prst="homePlate">
            <a:avLst/>
          </a:prstGeom>
          <a:solidFill>
            <a:srgbClr val="75787B"/>
          </a:solidFill>
          <a:ln w="19050" algn="ctr">
            <a:solidFill>
              <a:srgbClr val="97999B"/>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dirty="0">
              <a:solidFill>
                <a:schemeClr val="bg1"/>
              </a:solidFill>
            </a:endParaRPr>
          </a:p>
        </p:txBody>
      </p:sp>
      <p:cxnSp>
        <p:nvCxnSpPr>
          <p:cNvPr id="56" name="Straight Connector 55"/>
          <p:cNvCxnSpPr/>
          <p:nvPr/>
        </p:nvCxnSpPr>
        <p:spPr>
          <a:xfrm>
            <a:off x="565668" y="5766870"/>
            <a:ext cx="0" cy="608215"/>
          </a:xfrm>
          <a:prstGeom prst="line">
            <a:avLst/>
          </a:prstGeom>
          <a:ln w="19050">
            <a:solidFill>
              <a:srgbClr val="75787B"/>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877777" y="5704725"/>
            <a:ext cx="0" cy="608215"/>
          </a:xfrm>
          <a:prstGeom prst="line">
            <a:avLst/>
          </a:prstGeom>
          <a:ln w="19050">
            <a:solidFill>
              <a:srgbClr val="75787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2146450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DDC70EE8-97F9-204C-9F41-8230BC33700B}"/>
              </a:ext>
            </a:extLst>
          </p:cNvPr>
          <p:cNvSpPr txBox="1"/>
          <p:nvPr/>
        </p:nvSpPr>
        <p:spPr bwMode="gray">
          <a:xfrm>
            <a:off x="3312939" y="2322205"/>
            <a:ext cx="7657686" cy="3108543"/>
          </a:xfrm>
          <a:prstGeom prst="rect">
            <a:avLst/>
          </a:prstGeom>
        </p:spPr>
        <p:txBody>
          <a:bodyPr wrap="square" lIns="0" tIns="0" rIns="0" bIns="0" rtlCol="0" anchor="t" anchorCtr="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Ladies and Gentlemen,</a:t>
            </a:r>
          </a:p>
          <a:p>
            <a:pPr marL="0" marR="0" lvl="0" indent="0" algn="just"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It is an honor to be here today to discuss the transformative power of Deloitte in delivering unparalleled support to the power sector, with a special focus on the vibrant yet challenging energy sector of Liberia. Our aim is not just to highlight Deloitte's capabilities but to emphasize the pressing need for private sector investment and the vast opportunities that lie ahead in Liberia’s energy landscape.</a:t>
            </a:r>
          </a:p>
          <a:p>
            <a:pPr marL="0" marR="0" lvl="0" indent="0" algn="just" defTabSz="121917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Deloitte globally is a leading provider of professional services to electric power companies and electric and gas utilities. We are the market leader in services to independent power producers and serve many of the largest regulated utilities.</a:t>
            </a:r>
          </a:p>
          <a:p>
            <a:pPr marL="0" marR="0" lvl="0" indent="0" algn="just" defTabSz="1219170" rtl="0" eaLnBrk="1" fontAlgn="auto" latinLnBrk="0" hangingPunct="1">
              <a:lnSpc>
                <a:spcPct val="100000"/>
              </a:lnSpc>
              <a:spcBef>
                <a:spcPts val="0"/>
              </a:spcBef>
              <a:spcAft>
                <a:spcPts val="0"/>
              </a:spcAft>
              <a:buClrTx/>
              <a:buSzTx/>
              <a:buFontTx/>
              <a:buNone/>
              <a:tabLst/>
              <a:defRPr/>
            </a:pPr>
            <a:endParaRPr lang="en-US" sz="1200" dirty="0">
              <a:solidFill>
                <a:prstClr val="black"/>
              </a:solidFill>
              <a:latin typeface="Calibri Light" panose="020F0302020204030204" pitchFamily="34" charset="0"/>
              <a:cs typeface="Calibri Light" panose="020F0302020204030204" pitchFamily="34" charset="0"/>
            </a:endParaRPr>
          </a:p>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 Deloitte offers industry-tailored auditing, tax, consulting, and financial advisory services, as well as over 15 dedicated service lines to the Electric Power industry, including energy trading, regulatory services, e-Business, risk management, environmental liability, mergers and acquisitions, project finance, operational optimization, IT systems, structured finance, carbon trading, transaction due diligence, and valuation services. Deloitte’s work under Power, Utilities and Renewables falls under Deloitte’s broader industry classification of Energy, Resources, and Industrials</a:t>
            </a:r>
            <a:r>
              <a:rPr kumimoji="0" lang="en-US" sz="11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rPr>
              <a:t>.</a:t>
            </a:r>
          </a:p>
          <a:p>
            <a:pPr marL="0" marR="0" lvl="0" indent="0" algn="just"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a:p>
            <a:pPr marL="0" marR="0" lvl="0" indent="0" algn="just" defTabSz="121917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Light" panose="020F0302020204030204" pitchFamily="34" charset="0"/>
              <a:cs typeface="Calibri Light" panose="020F0302020204030204" pitchFamily="34" charset="0"/>
            </a:endParaRPr>
          </a:p>
        </p:txBody>
      </p:sp>
      <p:sp>
        <p:nvSpPr>
          <p:cNvPr id="3" name="Rectangle: Rounded Corners 2">
            <a:extLst>
              <a:ext uri="{FF2B5EF4-FFF2-40B4-BE49-F238E27FC236}">
                <a16:creationId xmlns:a16="http://schemas.microsoft.com/office/drawing/2014/main" id="{987B7C3E-7F10-34F7-D096-3AE1878CD626}"/>
              </a:ext>
            </a:extLst>
          </p:cNvPr>
          <p:cNvSpPr/>
          <p:nvPr/>
        </p:nvSpPr>
        <p:spPr bwMode="gray">
          <a:xfrm>
            <a:off x="3108960" y="1978007"/>
            <a:ext cx="8305801" cy="3796937"/>
          </a:xfrm>
          <a:prstGeom prst="round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pic>
        <p:nvPicPr>
          <p:cNvPr id="7" name="Picture 6" descr="Medium shot of a person smiling&#10;&#10;Description automatically generated">
            <a:extLst>
              <a:ext uri="{FF2B5EF4-FFF2-40B4-BE49-F238E27FC236}">
                <a16:creationId xmlns:a16="http://schemas.microsoft.com/office/drawing/2014/main" id="{2813B8D8-9A4D-ADDB-455E-68B492AE42C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933" y="2169431"/>
            <a:ext cx="1796984" cy="2519137"/>
          </a:xfrm>
          <a:prstGeom prst="rect">
            <a:avLst/>
          </a:prstGeom>
        </p:spPr>
      </p:pic>
      <p:sp>
        <p:nvSpPr>
          <p:cNvPr id="8" name="Rectangle 7">
            <a:extLst>
              <a:ext uri="{FF2B5EF4-FFF2-40B4-BE49-F238E27FC236}">
                <a16:creationId xmlns:a16="http://schemas.microsoft.com/office/drawing/2014/main" id="{58EB7B31-0A77-858A-BAD8-90907F70BD4C}"/>
              </a:ext>
            </a:extLst>
          </p:cNvPr>
          <p:cNvSpPr/>
          <p:nvPr/>
        </p:nvSpPr>
        <p:spPr bwMode="gray">
          <a:xfrm>
            <a:off x="574766" y="4754880"/>
            <a:ext cx="2090058" cy="592183"/>
          </a:xfrm>
          <a:prstGeom prst="rect">
            <a:avLst/>
          </a:prstGeom>
          <a:solidFill>
            <a:schemeClr val="accent1"/>
          </a:solidFill>
          <a:ln w="19050" algn="ctr">
            <a:solidFill>
              <a:schemeClr val="bg1"/>
            </a:solid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r>
              <a:rPr lang="en-US" sz="1600" b="1" dirty="0">
                <a:solidFill>
                  <a:schemeClr val="bg1"/>
                </a:solidFill>
              </a:rPr>
              <a:t>Eunice Biritwum</a:t>
            </a:r>
          </a:p>
        </p:txBody>
      </p:sp>
    </p:spTree>
    <p:extLst>
      <p:ext uri="{BB962C8B-B14F-4D97-AF65-F5344CB8AC3E}">
        <p14:creationId xmlns:p14="http://schemas.microsoft.com/office/powerpoint/2010/main" val="136622844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Solar panels in field">
            <a:extLst>
              <a:ext uri="{FF2B5EF4-FFF2-40B4-BE49-F238E27FC236}">
                <a16:creationId xmlns:a16="http://schemas.microsoft.com/office/drawing/2014/main" id="{D5E44962-49CE-4DC5-A317-1F23F929BFC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0" y="135"/>
            <a:ext cx="12189278" cy="6857730"/>
          </a:xfrm>
          <a:prstGeom prst="rect">
            <a:avLst/>
          </a:prstGeom>
        </p:spPr>
      </p:pic>
      <p:grpSp>
        <p:nvGrpSpPr>
          <p:cNvPr id="3" name="Group 2">
            <a:extLst>
              <a:ext uri="{FF2B5EF4-FFF2-40B4-BE49-F238E27FC236}">
                <a16:creationId xmlns:a16="http://schemas.microsoft.com/office/drawing/2014/main" id="{A2633686-B252-4117-B71D-82F282D8A58A}"/>
              </a:ext>
            </a:extLst>
          </p:cNvPr>
          <p:cNvGrpSpPr/>
          <p:nvPr/>
        </p:nvGrpSpPr>
        <p:grpSpPr>
          <a:xfrm rot="10800000">
            <a:off x="557169" y="2323428"/>
            <a:ext cx="3811375" cy="4058207"/>
            <a:chOff x="469900" y="457199"/>
            <a:chExt cx="3024224" cy="3478335"/>
          </a:xfrm>
        </p:grpSpPr>
        <p:sp>
          <p:nvSpPr>
            <p:cNvPr id="7" name="Text Placeholder 5">
              <a:extLst>
                <a:ext uri="{FF2B5EF4-FFF2-40B4-BE49-F238E27FC236}">
                  <a16:creationId xmlns:a16="http://schemas.microsoft.com/office/drawing/2014/main" id="{830C464B-2C34-0A45-9F93-AFD72C96F3EA}"/>
                </a:ext>
              </a:extLst>
            </p:cNvPr>
            <p:cNvSpPr txBox="1">
              <a:spLocks/>
            </p:cNvSpPr>
            <p:nvPr>
              <p:custDataLst>
                <p:tags r:id="rId1"/>
              </p:custDataLst>
            </p:nvPr>
          </p:nvSpPr>
          <p:spPr>
            <a:xfrm rot="5400000">
              <a:off x="242844" y="684255"/>
              <a:ext cx="3478335" cy="3024224"/>
            </a:xfrm>
            <a:prstGeom prst="homePlate">
              <a:avLst>
                <a:gd name="adj" fmla="val 26427"/>
              </a:avLst>
            </a:prstGeom>
            <a:solidFill>
              <a:schemeClr val="tx1">
                <a:alpha val="42000"/>
              </a:schemeClr>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endParaRPr kumimoji="0" lang="en-US" sz="1100" b="1" i="0" u="none" strike="noStrike" kern="1200" cap="none" spc="0" normalizeH="0" baseline="0" noProof="0" dirty="0">
                <a:ln>
                  <a:noFill/>
                </a:ln>
                <a:solidFill>
                  <a:srgbClr val="FFFFFF"/>
                </a:solidFill>
                <a:effectLst/>
                <a:uLnTx/>
                <a:uFillTx/>
                <a:latin typeface="Calibri Light"/>
                <a:ea typeface="+mj-ea"/>
                <a:cs typeface="+mj-cs"/>
              </a:endParaRPr>
            </a:p>
          </p:txBody>
        </p:sp>
        <p:sp>
          <p:nvSpPr>
            <p:cNvPr id="8" name="Text Placeholder 5">
              <a:extLst>
                <a:ext uri="{FF2B5EF4-FFF2-40B4-BE49-F238E27FC236}">
                  <a16:creationId xmlns:a16="http://schemas.microsoft.com/office/drawing/2014/main" id="{095FC11C-AA67-3A43-8D6D-568D9091AAD2}"/>
                </a:ext>
              </a:extLst>
            </p:cNvPr>
            <p:cNvSpPr txBox="1">
              <a:spLocks noChangeAspect="1"/>
            </p:cNvSpPr>
            <p:nvPr>
              <p:custDataLst>
                <p:tags r:id="rId2"/>
              </p:custDataLst>
            </p:nvPr>
          </p:nvSpPr>
          <p:spPr>
            <a:xfrm rot="5400000">
              <a:off x="456444" y="847080"/>
              <a:ext cx="3051138" cy="2652803"/>
            </a:xfrm>
            <a:prstGeom prst="homePlate">
              <a:avLst>
                <a:gd name="adj" fmla="val 26427"/>
              </a:avLst>
            </a:prstGeom>
            <a:solidFill>
              <a:schemeClr val="accent2"/>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endParaRPr kumimoji="0" lang="en-US" sz="1100" b="1" i="0" u="none" strike="noStrike" kern="1200" cap="none" spc="0" normalizeH="0" baseline="0" noProof="0" dirty="0">
                <a:ln>
                  <a:noFill/>
                </a:ln>
                <a:solidFill>
                  <a:srgbClr val="FFFFFF"/>
                </a:solidFill>
                <a:effectLst/>
                <a:uLnTx/>
                <a:uFillTx/>
                <a:latin typeface="Calibri Light"/>
                <a:ea typeface="+mj-ea"/>
                <a:cs typeface="+mj-cs"/>
              </a:endParaRPr>
            </a:p>
          </p:txBody>
        </p:sp>
      </p:grpSp>
      <p:sp>
        <p:nvSpPr>
          <p:cNvPr id="12" name="TextBox 11">
            <a:extLst>
              <a:ext uri="{FF2B5EF4-FFF2-40B4-BE49-F238E27FC236}">
                <a16:creationId xmlns:a16="http://schemas.microsoft.com/office/drawing/2014/main" id="{A90E5C25-09D2-4942-83F8-411A329AD38B}"/>
              </a:ext>
            </a:extLst>
          </p:cNvPr>
          <p:cNvSpPr txBox="1"/>
          <p:nvPr/>
        </p:nvSpPr>
        <p:spPr>
          <a:xfrm>
            <a:off x="1105385" y="4071724"/>
            <a:ext cx="2714937" cy="984885"/>
          </a:xfrm>
          <a:prstGeom prst="rect">
            <a:avLst/>
          </a:prstGeom>
          <a:noFill/>
        </p:spPr>
        <p:txBody>
          <a:bodyPr wrap="square" lIns="0" tIns="0" rIns="0" bIns="0" rtlCol="0">
            <a:spAutoFit/>
          </a:bodyPr>
          <a:lstStyle/>
          <a:p>
            <a:pPr marL="0" marR="0" lvl="0" indent="0" algn="ctr" defTabSz="914335" rtl="0" eaLnBrk="1" fontAlgn="auto" latinLnBrk="0" hangingPunct="1">
              <a:lnSpc>
                <a:spcPct val="100000"/>
              </a:lnSpc>
              <a:spcBef>
                <a:spcPts val="600"/>
              </a:spcBef>
              <a:spcAft>
                <a:spcPts val="0"/>
              </a:spcAft>
              <a:buClrTx/>
              <a:buSzPct val="100000"/>
              <a:buFontTx/>
              <a:buNone/>
              <a:tabLst/>
              <a:defRPr/>
            </a:pPr>
            <a:r>
              <a:rPr kumimoji="0" lang="en-US" sz="32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rPr>
              <a:t>The Energy Sector of Liberia</a:t>
            </a:r>
          </a:p>
        </p:txBody>
      </p:sp>
    </p:spTree>
    <p:extLst>
      <p:ext uri="{BB962C8B-B14F-4D97-AF65-F5344CB8AC3E}">
        <p14:creationId xmlns:p14="http://schemas.microsoft.com/office/powerpoint/2010/main" val="365449029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
            <a:extLst>
              <a:ext uri="{FF2B5EF4-FFF2-40B4-BE49-F238E27FC236}">
                <a16:creationId xmlns:a16="http://schemas.microsoft.com/office/drawing/2014/main" id="{C17B8679-D757-4E67-94BF-048E71DE80B5}"/>
              </a:ext>
            </a:extLst>
          </p:cNvPr>
          <p:cNvSpPr>
            <a:spLocks noGrp="1"/>
          </p:cNvSpPr>
          <p:nvPr>
            <p:ph type="title"/>
          </p:nvPr>
        </p:nvSpPr>
        <p:spPr>
          <a:xfrm>
            <a:off x="501650" y="317500"/>
            <a:ext cx="9163050" cy="334102"/>
          </a:xfrm>
        </p:spPr>
        <p:txBody>
          <a:bodyPr/>
          <a:lstStyle/>
          <a:p>
            <a:r>
              <a:rPr lang="en-US" b="1" noProof="0" dirty="0"/>
              <a:t>The Energy Sector of Liberia</a:t>
            </a:r>
          </a:p>
        </p:txBody>
      </p:sp>
      <p:sp>
        <p:nvSpPr>
          <p:cNvPr id="2" name="Rectangle: Rounded Corners 1">
            <a:extLst>
              <a:ext uri="{FF2B5EF4-FFF2-40B4-BE49-F238E27FC236}">
                <a16:creationId xmlns:a16="http://schemas.microsoft.com/office/drawing/2014/main" id="{4ED23DD5-8943-DEE6-E509-5EE3A725C572}"/>
              </a:ext>
            </a:extLst>
          </p:cNvPr>
          <p:cNvSpPr/>
          <p:nvPr/>
        </p:nvSpPr>
        <p:spPr bwMode="gray">
          <a:xfrm>
            <a:off x="923109" y="1175657"/>
            <a:ext cx="4799693" cy="4998720"/>
          </a:xfrm>
          <a:prstGeom prst="roundRect">
            <a:avLst/>
          </a:prstGeom>
          <a:solidFill>
            <a:schemeClr val="accent1"/>
          </a:solidFill>
          <a:ln w="19050" algn="ctr">
            <a:solidFill>
              <a:schemeClr val="bg1"/>
            </a:solidFill>
            <a:miter lim="800000"/>
            <a:headEnd/>
            <a:tailEnd/>
          </a:ln>
          <a:effectLst>
            <a:outerShdw blurRad="63500" sx="102000" sy="102000" algn="ctr"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4" name="TextBox 3">
            <a:extLst>
              <a:ext uri="{FF2B5EF4-FFF2-40B4-BE49-F238E27FC236}">
                <a16:creationId xmlns:a16="http://schemas.microsoft.com/office/drawing/2014/main" id="{003F581C-F309-6452-2B67-66C6E6852B79}"/>
              </a:ext>
            </a:extLst>
          </p:cNvPr>
          <p:cNvSpPr txBox="1"/>
          <p:nvPr/>
        </p:nvSpPr>
        <p:spPr>
          <a:xfrm>
            <a:off x="1142093" y="1365090"/>
            <a:ext cx="4519749" cy="4619854"/>
          </a:xfrm>
          <a:prstGeom prst="rect">
            <a:avLst/>
          </a:prstGeom>
          <a:noFill/>
        </p:spPr>
        <p:txBody>
          <a:bodyPr wrap="square">
            <a:spAutoFit/>
          </a:bodyPr>
          <a:lstStyle/>
          <a:p>
            <a:pPr>
              <a:lnSpc>
                <a:spcPct val="150000"/>
              </a:lnSpc>
            </a:pPr>
            <a:r>
              <a:rPr lang="en-US" dirty="0">
                <a:solidFill>
                  <a:schemeClr val="bg1"/>
                </a:solidFill>
              </a:rPr>
              <a:t>Liberia, a nation rich in natural resources and human potential, faces significant challenges in its energy sector, with limited access to electricity and heavy reliance on traditional biomass and imported fossil fuels. Despite recent progress from less than 2 percent in 2010 to 31.8 percent in 2022 according to the World Bank, access to reliable and affordable electricity remains limited. This lack of access hampers economic growth, social development, and overall quality of life.</a:t>
            </a:r>
          </a:p>
        </p:txBody>
      </p:sp>
      <p:sp>
        <p:nvSpPr>
          <p:cNvPr id="5" name="Rectangle 4" descr="Firemen in a huddle">
            <a:extLst>
              <a:ext uri="{FF2B5EF4-FFF2-40B4-BE49-F238E27FC236}">
                <a16:creationId xmlns:a16="http://schemas.microsoft.com/office/drawing/2014/main" id="{2E936A8D-25FC-7A98-F5F6-B92B9FD1B7A3}"/>
              </a:ext>
            </a:extLst>
          </p:cNvPr>
          <p:cNvSpPr/>
          <p:nvPr/>
        </p:nvSpPr>
        <p:spPr bwMode="gray">
          <a:xfrm>
            <a:off x="6601097" y="0"/>
            <a:ext cx="5590904" cy="6858000"/>
          </a:xfrm>
          <a:prstGeom prst="rect">
            <a:avLst/>
          </a:prstGeom>
          <a:blipFill dpi="0" rotWithShape="1">
            <a:blip r:embed="rId3" cstate="screen">
              <a:extLst>
                <a:ext uri="{28A0092B-C50C-407E-A947-70E740481C1C}">
                  <a14:useLocalDpi xmlns:a14="http://schemas.microsoft.com/office/drawing/2010/main"/>
                </a:ext>
              </a:extLst>
            </a:blip>
            <a:srcRect/>
            <a:stretch>
              <a:fillRect l="182" b="184"/>
            </a:stretch>
          </a:blip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Tree>
    <p:extLst>
      <p:ext uri="{BB962C8B-B14F-4D97-AF65-F5344CB8AC3E}">
        <p14:creationId xmlns:p14="http://schemas.microsoft.com/office/powerpoint/2010/main" val="3444606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Documents on desk">
            <a:extLst>
              <a:ext uri="{FF2B5EF4-FFF2-40B4-BE49-F238E27FC236}">
                <a16:creationId xmlns:a16="http://schemas.microsoft.com/office/drawing/2014/main" id="{D5E44962-49CE-4DC5-A317-1F23F929BFC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40" y="135"/>
            <a:ext cx="12189278" cy="6857730"/>
          </a:xfrm>
          <a:prstGeom prst="rect">
            <a:avLst/>
          </a:prstGeom>
        </p:spPr>
      </p:pic>
      <p:grpSp>
        <p:nvGrpSpPr>
          <p:cNvPr id="3" name="Group 2">
            <a:extLst>
              <a:ext uri="{FF2B5EF4-FFF2-40B4-BE49-F238E27FC236}">
                <a16:creationId xmlns:a16="http://schemas.microsoft.com/office/drawing/2014/main" id="{A2633686-B252-4117-B71D-82F282D8A58A}"/>
              </a:ext>
            </a:extLst>
          </p:cNvPr>
          <p:cNvGrpSpPr/>
          <p:nvPr/>
        </p:nvGrpSpPr>
        <p:grpSpPr>
          <a:xfrm rot="10800000">
            <a:off x="557169" y="2323428"/>
            <a:ext cx="3811375" cy="4058207"/>
            <a:chOff x="469900" y="457199"/>
            <a:chExt cx="3024224" cy="3478335"/>
          </a:xfrm>
        </p:grpSpPr>
        <p:sp>
          <p:nvSpPr>
            <p:cNvPr id="7" name="Text Placeholder 5">
              <a:extLst>
                <a:ext uri="{FF2B5EF4-FFF2-40B4-BE49-F238E27FC236}">
                  <a16:creationId xmlns:a16="http://schemas.microsoft.com/office/drawing/2014/main" id="{830C464B-2C34-0A45-9F93-AFD72C96F3EA}"/>
                </a:ext>
              </a:extLst>
            </p:cNvPr>
            <p:cNvSpPr txBox="1">
              <a:spLocks/>
            </p:cNvSpPr>
            <p:nvPr>
              <p:custDataLst>
                <p:tags r:id="rId1"/>
              </p:custDataLst>
            </p:nvPr>
          </p:nvSpPr>
          <p:spPr>
            <a:xfrm rot="5400000">
              <a:off x="242844" y="684255"/>
              <a:ext cx="3478335" cy="3024224"/>
            </a:xfrm>
            <a:prstGeom prst="homePlate">
              <a:avLst>
                <a:gd name="adj" fmla="val 26427"/>
              </a:avLst>
            </a:prstGeom>
            <a:solidFill>
              <a:schemeClr val="tx1">
                <a:alpha val="42000"/>
              </a:schemeClr>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endParaRPr kumimoji="0" lang="en-US" sz="1100" b="1" i="0" u="none" strike="noStrike" kern="1200" cap="none" spc="0" normalizeH="0" baseline="0" noProof="0" dirty="0">
                <a:ln>
                  <a:noFill/>
                </a:ln>
                <a:solidFill>
                  <a:srgbClr val="FFFFFF"/>
                </a:solidFill>
                <a:effectLst/>
                <a:uLnTx/>
                <a:uFillTx/>
                <a:latin typeface="Calibri Light"/>
                <a:ea typeface="+mj-ea"/>
                <a:cs typeface="+mj-cs"/>
              </a:endParaRPr>
            </a:p>
          </p:txBody>
        </p:sp>
        <p:sp>
          <p:nvSpPr>
            <p:cNvPr id="8" name="Text Placeholder 5">
              <a:extLst>
                <a:ext uri="{FF2B5EF4-FFF2-40B4-BE49-F238E27FC236}">
                  <a16:creationId xmlns:a16="http://schemas.microsoft.com/office/drawing/2014/main" id="{095FC11C-AA67-3A43-8D6D-568D9091AAD2}"/>
                </a:ext>
              </a:extLst>
            </p:cNvPr>
            <p:cNvSpPr txBox="1">
              <a:spLocks noChangeAspect="1"/>
            </p:cNvSpPr>
            <p:nvPr>
              <p:custDataLst>
                <p:tags r:id="rId2"/>
              </p:custDataLst>
            </p:nvPr>
          </p:nvSpPr>
          <p:spPr>
            <a:xfrm rot="5400000">
              <a:off x="456444" y="847080"/>
              <a:ext cx="3051138" cy="2652803"/>
            </a:xfrm>
            <a:prstGeom prst="homePlate">
              <a:avLst>
                <a:gd name="adj" fmla="val 26427"/>
              </a:avLst>
            </a:prstGeom>
            <a:solidFill>
              <a:schemeClr val="accent6"/>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r>
                <a:rPr kumimoji="0" lang="en-US" sz="1100" b="1" i="0" u="none" strike="noStrike" kern="1200" cap="none" spc="0" normalizeH="0" baseline="0" noProof="0" dirty="0">
                  <a:ln>
                    <a:noFill/>
                  </a:ln>
                  <a:solidFill>
                    <a:srgbClr val="FFFFFF"/>
                  </a:solidFill>
                  <a:effectLst/>
                  <a:uLnTx/>
                  <a:uFillTx/>
                  <a:latin typeface="Calibri Light"/>
                  <a:ea typeface="+mj-ea"/>
                  <a:cs typeface="+mj-cs"/>
                </a:rPr>
                <a:t>  </a:t>
              </a:r>
            </a:p>
          </p:txBody>
        </p:sp>
      </p:grpSp>
      <p:sp>
        <p:nvSpPr>
          <p:cNvPr id="12" name="TextBox 11">
            <a:extLst>
              <a:ext uri="{FF2B5EF4-FFF2-40B4-BE49-F238E27FC236}">
                <a16:creationId xmlns:a16="http://schemas.microsoft.com/office/drawing/2014/main" id="{A90E5C25-09D2-4942-83F8-411A329AD38B}"/>
              </a:ext>
            </a:extLst>
          </p:cNvPr>
          <p:cNvSpPr txBox="1"/>
          <p:nvPr/>
        </p:nvSpPr>
        <p:spPr>
          <a:xfrm>
            <a:off x="1105385" y="3871427"/>
            <a:ext cx="2714937" cy="1477328"/>
          </a:xfrm>
          <a:prstGeom prst="rect">
            <a:avLst/>
          </a:prstGeom>
          <a:noFill/>
        </p:spPr>
        <p:txBody>
          <a:bodyPr wrap="square" lIns="0" tIns="0" rIns="0" bIns="0" rtlCol="0">
            <a:spAutoFit/>
          </a:bodyPr>
          <a:lstStyle/>
          <a:p>
            <a:pPr marL="0" marR="0" lvl="0" indent="0" algn="ctr" defTabSz="914335" rtl="0" eaLnBrk="1" fontAlgn="auto" latinLnBrk="0" hangingPunct="1">
              <a:lnSpc>
                <a:spcPct val="100000"/>
              </a:lnSpc>
              <a:spcBef>
                <a:spcPts val="600"/>
              </a:spcBef>
              <a:spcAft>
                <a:spcPts val="0"/>
              </a:spcAft>
              <a:buClrTx/>
              <a:buSzPct val="100000"/>
              <a:buFontTx/>
              <a:buNone/>
              <a:tabLst/>
              <a:defRPr/>
            </a:pPr>
            <a:r>
              <a:rPr lang="en-US" sz="3200" b="1" dirty="0">
                <a:solidFill>
                  <a:prstClr val="white"/>
                </a:solidFill>
                <a:latin typeface="Calibri Light" panose="020F0302020204030204" pitchFamily="34" charset="0"/>
                <a:cs typeface="Calibri Light" panose="020F0302020204030204" pitchFamily="34" charset="0"/>
              </a:rPr>
              <a:t>Contributions of Development Partners</a:t>
            </a:r>
            <a:endParaRPr kumimoji="0" lang="en-US" sz="32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3933357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8207245-51CF-4E4F-847C-D768EE10210B}"/>
              </a:ext>
            </a:extLst>
          </p:cNvPr>
          <p:cNvSpPr>
            <a:spLocks noGrp="1"/>
          </p:cNvSpPr>
          <p:nvPr>
            <p:ph type="title"/>
          </p:nvPr>
        </p:nvSpPr>
        <p:spPr>
          <a:xfrm>
            <a:off x="501651" y="317501"/>
            <a:ext cx="11162349" cy="247984"/>
          </a:xfrm>
        </p:spPr>
        <p:txBody>
          <a:bodyPr/>
          <a:lstStyle/>
          <a:p>
            <a:r>
              <a:rPr lang="en-US" b="1" dirty="0"/>
              <a:t>Contributions of Development Partners</a:t>
            </a:r>
          </a:p>
        </p:txBody>
      </p:sp>
      <p:sp>
        <p:nvSpPr>
          <p:cNvPr id="2" name="Rectangle 1">
            <a:extLst>
              <a:ext uri="{FF2B5EF4-FFF2-40B4-BE49-F238E27FC236}">
                <a16:creationId xmlns:a16="http://schemas.microsoft.com/office/drawing/2014/main" id="{829D93DF-30AC-04D0-7697-B171004D634B}"/>
              </a:ext>
            </a:extLst>
          </p:cNvPr>
          <p:cNvSpPr/>
          <p:nvPr/>
        </p:nvSpPr>
        <p:spPr>
          <a:xfrm>
            <a:off x="1457372" y="2636056"/>
            <a:ext cx="2624779"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chemeClr val="accent1"/>
                </a:solidFill>
                <a:effectLst/>
                <a:uLnTx/>
                <a:uFillTx/>
                <a:latin typeface="Calibri Light" panose="020F0302020204030204" pitchFamily="34" charset="0"/>
                <a:cs typeface="Calibri Light" panose="020F0302020204030204" pitchFamily="34" charset="0"/>
              </a:rPr>
              <a:t>1.Infrastructure Projects</a:t>
            </a:r>
            <a:endPar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p:sp>
        <p:nvSpPr>
          <p:cNvPr id="3" name="TextBox 2">
            <a:extLst>
              <a:ext uri="{FF2B5EF4-FFF2-40B4-BE49-F238E27FC236}">
                <a16:creationId xmlns:a16="http://schemas.microsoft.com/office/drawing/2014/main" id="{EF781566-AA77-EE95-76CF-0F12AD847025}"/>
              </a:ext>
            </a:extLst>
          </p:cNvPr>
          <p:cNvSpPr txBox="1"/>
          <p:nvPr/>
        </p:nvSpPr>
        <p:spPr>
          <a:xfrm>
            <a:off x="1483966" y="3349356"/>
            <a:ext cx="2624780" cy="1508105"/>
          </a:xfrm>
          <a:prstGeom prst="rect">
            <a:avLst/>
          </a:prstGeom>
          <a:noFill/>
        </p:spPr>
        <p:txBody>
          <a:bodyPr wrap="square" lIns="0" tIns="0" rIns="0" bIns="0" rtlCol="0">
            <a:spAutoFit/>
          </a:bodyPr>
          <a:lstStyle/>
          <a:p>
            <a:pPr marL="171450" marR="0" lvl="0" indent="-171450" algn="l" defTabSz="914400" rtl="0" eaLnBrk="0" fontAlgn="base"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rPr>
              <a:t>Organizations like the World Bank, EU, IFC, GEF, UNDP and the African Development Bank have funded major infrastructure projects, improving generation, distribution capacities, expanding energy access</a:t>
            </a:r>
          </a:p>
        </p:txBody>
      </p:sp>
      <p:sp>
        <p:nvSpPr>
          <p:cNvPr id="4" name="TextBox 3">
            <a:extLst>
              <a:ext uri="{FF2B5EF4-FFF2-40B4-BE49-F238E27FC236}">
                <a16:creationId xmlns:a16="http://schemas.microsoft.com/office/drawing/2014/main" id="{90B40CDE-FA97-8983-8D3B-21AD701D5FC0}"/>
              </a:ext>
            </a:extLst>
          </p:cNvPr>
          <p:cNvSpPr txBox="1"/>
          <p:nvPr/>
        </p:nvSpPr>
        <p:spPr>
          <a:xfrm>
            <a:off x="5345111" y="3349355"/>
            <a:ext cx="2817634" cy="1938992"/>
          </a:xfrm>
          <a:prstGeom prst="rect">
            <a:avLst/>
          </a:prstGeom>
          <a:noFill/>
        </p:spPr>
        <p:txBody>
          <a:bodyPr wrap="square" lIns="0" tIns="0" rIns="0" bIns="0" rtlCol="0">
            <a:spAutoFit/>
          </a:bodyPr>
          <a:lstStyle/>
          <a:p>
            <a:pPr marL="171450" marR="0" lvl="0" indent="-171450" algn="l" defTabSz="914400" rtl="0" eaLnBrk="0" fontAlgn="base"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rPr>
              <a:t>Various programs such as the recent USAID West Africa Energy Program of which Deloitte was the implementing agency, IRENA, </a:t>
            </a:r>
            <a:r>
              <a:rPr kumimoji="0" lang="en-US" sz="1400" b="0" i="0" u="none" strike="noStrike" kern="1200" cap="none" spc="0" normalizeH="0" baseline="0" noProof="0" dirty="0" err="1">
                <a:ln>
                  <a:noFill/>
                </a:ln>
                <a:solidFill>
                  <a:srgbClr val="000000"/>
                </a:solidFill>
                <a:effectLst/>
                <a:uLnTx/>
                <a:uFillTx/>
                <a:latin typeface="Calibri Light" panose="020F0302020204030204" pitchFamily="34" charset="0"/>
                <a:cs typeface="Calibri Light" panose="020F0302020204030204" pitchFamily="34" charset="0"/>
              </a:rPr>
              <a:t>AfREC</a:t>
            </a:r>
            <a:r>
              <a:rPr kumimoji="0" lang="en-US" sz="14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rPr>
              <a:t>, have been initiated to build local capacity, ensuring that the skills and knowledge required to manage and maintain energy infrastructure are developed locally.</a:t>
            </a:r>
          </a:p>
        </p:txBody>
      </p:sp>
      <p:sp>
        <p:nvSpPr>
          <p:cNvPr id="45" name="TextBox 44">
            <a:extLst>
              <a:ext uri="{FF2B5EF4-FFF2-40B4-BE49-F238E27FC236}">
                <a16:creationId xmlns:a16="http://schemas.microsoft.com/office/drawing/2014/main" id="{F70ED535-0AB6-EF55-FC2F-BCDFF4566B8F}"/>
              </a:ext>
            </a:extLst>
          </p:cNvPr>
          <p:cNvSpPr txBox="1"/>
          <p:nvPr/>
        </p:nvSpPr>
        <p:spPr>
          <a:xfrm>
            <a:off x="9241057" y="3349357"/>
            <a:ext cx="2449293" cy="1508105"/>
          </a:xfrm>
          <a:prstGeom prst="rect">
            <a:avLst/>
          </a:prstGeom>
          <a:noFill/>
        </p:spPr>
        <p:txBody>
          <a:bodyPr wrap="square" lIns="0" tIns="0" rIns="0" bIns="0" rtlCol="0">
            <a:spAutoFit/>
          </a:bodyPr>
          <a:lstStyle/>
          <a:p>
            <a:pPr marL="171450" marR="0" lvl="0" indent="-171450" algn="l" defTabSz="914400" rtl="0" eaLnBrk="0" fontAlgn="base" latinLnBrk="0" hangingPunct="0">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rPr>
              <a:t>Development partners such as USAID have also provided support in energy sector reform, policy formulation, creating a conducive environment for sustainable energy development</a:t>
            </a:r>
          </a:p>
        </p:txBody>
      </p:sp>
      <p:sp>
        <p:nvSpPr>
          <p:cNvPr id="46" name="Freeform 59">
            <a:extLst>
              <a:ext uri="{FF2B5EF4-FFF2-40B4-BE49-F238E27FC236}">
                <a16:creationId xmlns:a16="http://schemas.microsoft.com/office/drawing/2014/main" id="{5B2441EB-D0AE-EDD4-C9DA-39EF3EF8030C}"/>
              </a:ext>
            </a:extLst>
          </p:cNvPr>
          <p:cNvSpPr>
            <a:spLocks/>
          </p:cNvSpPr>
          <p:nvPr/>
        </p:nvSpPr>
        <p:spPr bwMode="auto">
          <a:xfrm rot="20334630" flipH="1">
            <a:off x="494211" y="1583677"/>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7" name="TextBox 46">
            <a:extLst>
              <a:ext uri="{FF2B5EF4-FFF2-40B4-BE49-F238E27FC236}">
                <a16:creationId xmlns:a16="http://schemas.microsoft.com/office/drawing/2014/main" id="{D70DE84E-D42C-DE1F-D64F-4886C5157DC6}"/>
              </a:ext>
            </a:extLst>
          </p:cNvPr>
          <p:cNvSpPr txBox="1"/>
          <p:nvPr/>
        </p:nvSpPr>
        <p:spPr>
          <a:xfrm>
            <a:off x="1909408" y="1379965"/>
            <a:ext cx="385737" cy="688256"/>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1</a:t>
            </a:r>
          </a:p>
        </p:txBody>
      </p:sp>
      <p:sp>
        <p:nvSpPr>
          <p:cNvPr id="48" name="Freeform 62">
            <a:extLst>
              <a:ext uri="{FF2B5EF4-FFF2-40B4-BE49-F238E27FC236}">
                <a16:creationId xmlns:a16="http://schemas.microsoft.com/office/drawing/2014/main" id="{92E07939-D430-729A-31A7-2E9EC6A86EF1}"/>
              </a:ext>
            </a:extLst>
          </p:cNvPr>
          <p:cNvSpPr>
            <a:spLocks/>
          </p:cNvSpPr>
          <p:nvPr/>
        </p:nvSpPr>
        <p:spPr bwMode="auto">
          <a:xfrm rot="20334630" flipH="1">
            <a:off x="4374550" y="1574152"/>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9" name="TextBox 48">
            <a:extLst>
              <a:ext uri="{FF2B5EF4-FFF2-40B4-BE49-F238E27FC236}">
                <a16:creationId xmlns:a16="http://schemas.microsoft.com/office/drawing/2014/main" id="{27082CDB-7A6B-ED1E-E812-CF7E0FF6D06A}"/>
              </a:ext>
            </a:extLst>
          </p:cNvPr>
          <p:cNvSpPr txBox="1"/>
          <p:nvPr/>
        </p:nvSpPr>
        <p:spPr>
          <a:xfrm>
            <a:off x="5789744" y="1370440"/>
            <a:ext cx="385737" cy="688256"/>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2</a:t>
            </a:r>
          </a:p>
        </p:txBody>
      </p:sp>
      <p:sp>
        <p:nvSpPr>
          <p:cNvPr id="51" name="Freeform 65">
            <a:extLst>
              <a:ext uri="{FF2B5EF4-FFF2-40B4-BE49-F238E27FC236}">
                <a16:creationId xmlns:a16="http://schemas.microsoft.com/office/drawing/2014/main" id="{9DF711D1-0C75-E53E-AA76-62860256EDC3}"/>
              </a:ext>
            </a:extLst>
          </p:cNvPr>
          <p:cNvSpPr>
            <a:spLocks/>
          </p:cNvSpPr>
          <p:nvPr/>
        </p:nvSpPr>
        <p:spPr bwMode="auto">
          <a:xfrm rot="20334630" flipH="1">
            <a:off x="8233582" y="1593203"/>
            <a:ext cx="2052711" cy="775835"/>
          </a:xfrm>
          <a:custGeom>
            <a:avLst/>
            <a:gdLst>
              <a:gd name="connsiteX0" fmla="*/ 2889837 w 3557588"/>
              <a:gd name="connsiteY0" fmla="*/ 0 h 1344613"/>
              <a:gd name="connsiteX1" fmla="*/ 2807792 w 3557588"/>
              <a:gd name="connsiteY1" fmla="*/ 5011 h 1344613"/>
              <a:gd name="connsiteX2" fmla="*/ 2779811 w 3557588"/>
              <a:gd name="connsiteY2" fmla="*/ 10189 h 1344613"/>
              <a:gd name="connsiteX3" fmla="*/ 2751682 w 3557588"/>
              <a:gd name="connsiteY3" fmla="*/ 12017 h 1344613"/>
              <a:gd name="connsiteX4" fmla="*/ 2277031 w 3557588"/>
              <a:gd name="connsiteY4" fmla="*/ 316284 h 1344613"/>
              <a:gd name="connsiteX5" fmla="*/ 1905395 w 3557588"/>
              <a:gd name="connsiteY5" fmla="*/ 548953 h 1344613"/>
              <a:gd name="connsiteX6" fmla="*/ 1861105 w 3557588"/>
              <a:gd name="connsiteY6" fmla="*/ 556767 h 1344613"/>
              <a:gd name="connsiteX7" fmla="*/ 1797707 w 3557588"/>
              <a:gd name="connsiteY7" fmla="*/ 559961 h 1344613"/>
              <a:gd name="connsiteX8" fmla="*/ 1280557 w 3557588"/>
              <a:gd name="connsiteY8" fmla="*/ 309934 h 1344613"/>
              <a:gd name="connsiteX9" fmla="*/ 718693 w 3557588"/>
              <a:gd name="connsiteY9" fmla="*/ 0 h 1344613"/>
              <a:gd name="connsiteX10" fmla="*/ 717739 w 3557588"/>
              <a:gd name="connsiteY10" fmla="*/ 0 h 1344613"/>
              <a:gd name="connsiteX11" fmla="*/ 716785 w 3557588"/>
              <a:gd name="connsiteY11" fmla="*/ 0 h 1344613"/>
              <a:gd name="connsiteX12" fmla="*/ 677674 w 3557588"/>
              <a:gd name="connsiteY12" fmla="*/ 957 h 1344613"/>
              <a:gd name="connsiteX13" fmla="*/ 674812 w 3557588"/>
              <a:gd name="connsiteY13" fmla="*/ 1913 h 1344613"/>
              <a:gd name="connsiteX14" fmla="*/ 636655 w 3557588"/>
              <a:gd name="connsiteY14" fmla="*/ 4783 h 1344613"/>
              <a:gd name="connsiteX15" fmla="*/ 635701 w 3557588"/>
              <a:gd name="connsiteY15" fmla="*/ 4783 h 1344613"/>
              <a:gd name="connsiteX16" fmla="*/ 573890 w 3557588"/>
              <a:gd name="connsiteY16" fmla="*/ 15839 h 1344613"/>
              <a:gd name="connsiteX17" fmla="*/ 533340 w 3557588"/>
              <a:gd name="connsiteY17" fmla="*/ 19938 h 1344613"/>
              <a:gd name="connsiteX18" fmla="*/ 0 w 3557588"/>
              <a:gd name="connsiteY18" fmla="*/ 675960 h 1344613"/>
              <a:gd name="connsiteX19" fmla="*/ 667751 w 3557588"/>
              <a:gd name="connsiteY19" fmla="*/ 1344613 h 1344613"/>
              <a:gd name="connsiteX20" fmla="*/ 749126 w 3557588"/>
              <a:gd name="connsiteY20" fmla="*/ 1339688 h 1344613"/>
              <a:gd name="connsiteX21" fmla="*/ 766171 w 3557588"/>
              <a:gd name="connsiteY21" fmla="*/ 1336563 h 1344613"/>
              <a:gd name="connsiteX22" fmla="*/ 796915 w 3557588"/>
              <a:gd name="connsiteY22" fmla="*/ 1333480 h 1344613"/>
              <a:gd name="connsiteX23" fmla="*/ 797869 w 3557588"/>
              <a:gd name="connsiteY23" fmla="*/ 1333480 h 1344613"/>
              <a:gd name="connsiteX24" fmla="*/ 1257663 w 3557588"/>
              <a:gd name="connsiteY24" fmla="*/ 1062767 h 1344613"/>
              <a:gd name="connsiteX25" fmla="*/ 1613681 w 3557588"/>
              <a:gd name="connsiteY25" fmla="*/ 805243 h 1344613"/>
              <a:gd name="connsiteX26" fmla="*/ 1683778 w 3557588"/>
              <a:gd name="connsiteY26" fmla="*/ 787924 h 1344613"/>
              <a:gd name="connsiteX27" fmla="*/ 1714809 w 3557588"/>
              <a:gd name="connsiteY27" fmla="*/ 784054 h 1344613"/>
              <a:gd name="connsiteX28" fmla="*/ 2299925 w 3557588"/>
              <a:gd name="connsiteY28" fmla="*/ 1069117 h 1344613"/>
              <a:gd name="connsiteX29" fmla="*/ 2759719 w 3557588"/>
              <a:gd name="connsiteY29" fmla="*/ 1339830 h 1344613"/>
              <a:gd name="connsiteX30" fmla="*/ 2760673 w 3557588"/>
              <a:gd name="connsiteY30" fmla="*/ 1339830 h 1344613"/>
              <a:gd name="connsiteX31" fmla="*/ 2798831 w 3557588"/>
              <a:gd name="connsiteY31" fmla="*/ 1343657 h 1344613"/>
              <a:gd name="connsiteX32" fmla="*/ 2800738 w 3557588"/>
              <a:gd name="connsiteY32" fmla="*/ 1343657 h 1344613"/>
              <a:gd name="connsiteX33" fmla="*/ 2838896 w 3557588"/>
              <a:gd name="connsiteY33" fmla="*/ 1344613 h 1344613"/>
              <a:gd name="connsiteX34" fmla="*/ 2839850 w 3557588"/>
              <a:gd name="connsiteY34" fmla="*/ 1344613 h 1344613"/>
              <a:gd name="connsiteX35" fmla="*/ 2840803 w 3557588"/>
              <a:gd name="connsiteY35" fmla="*/ 1344613 h 1344613"/>
              <a:gd name="connsiteX36" fmla="*/ 2879915 w 3557588"/>
              <a:gd name="connsiteY36" fmla="*/ 1343657 h 1344613"/>
              <a:gd name="connsiteX37" fmla="*/ 2881822 w 3557588"/>
              <a:gd name="connsiteY37" fmla="*/ 1343657 h 1344613"/>
              <a:gd name="connsiteX38" fmla="*/ 2919980 w 3557588"/>
              <a:gd name="connsiteY38" fmla="*/ 1339830 h 1344613"/>
              <a:gd name="connsiteX39" fmla="*/ 2921887 w 3557588"/>
              <a:gd name="connsiteY39" fmla="*/ 1339830 h 1344613"/>
              <a:gd name="connsiteX40" fmla="*/ 2986964 w 3557588"/>
              <a:gd name="connsiteY40" fmla="*/ 1328445 h 1344613"/>
              <a:gd name="connsiteX41" fmla="*/ 3024248 w 3557588"/>
              <a:gd name="connsiteY41" fmla="*/ 1324677 h 1344613"/>
              <a:gd name="connsiteX42" fmla="*/ 3557588 w 3557588"/>
              <a:gd name="connsiteY42" fmla="*/ 669610 h 1344613"/>
              <a:gd name="connsiteX43" fmla="*/ 2889837 w 3557588"/>
              <a:gd name="connsiteY43" fmla="*/ 0 h 134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557588" h="1344613">
                <a:moveTo>
                  <a:pt x="2889837" y="0"/>
                </a:moveTo>
                <a:cubicBezTo>
                  <a:pt x="2862054" y="0"/>
                  <a:pt x="2834673" y="1704"/>
                  <a:pt x="2807792" y="5011"/>
                </a:cubicBezTo>
                <a:lnTo>
                  <a:pt x="2779811" y="10189"/>
                </a:lnTo>
                <a:lnTo>
                  <a:pt x="2751682" y="12017"/>
                </a:lnTo>
                <a:cubicBezTo>
                  <a:pt x="2551956" y="38186"/>
                  <a:pt x="2380532" y="153066"/>
                  <a:pt x="2277031" y="316284"/>
                </a:cubicBezTo>
                <a:cubicBezTo>
                  <a:pt x="2179730" y="435020"/>
                  <a:pt x="2048088" y="515553"/>
                  <a:pt x="1905395" y="548953"/>
                </a:cubicBezTo>
                <a:lnTo>
                  <a:pt x="1861105" y="556767"/>
                </a:lnTo>
                <a:lnTo>
                  <a:pt x="1797707" y="559961"/>
                </a:lnTo>
                <a:cubicBezTo>
                  <a:pt x="1601078" y="558646"/>
                  <a:pt x="1410292" y="468249"/>
                  <a:pt x="1280557" y="309934"/>
                </a:cubicBezTo>
                <a:cubicBezTo>
                  <a:pt x="1162270" y="123400"/>
                  <a:pt x="955267" y="0"/>
                  <a:pt x="718693" y="0"/>
                </a:cubicBezTo>
                <a:cubicBezTo>
                  <a:pt x="717739" y="0"/>
                  <a:pt x="717739" y="0"/>
                  <a:pt x="717739" y="0"/>
                </a:cubicBezTo>
                <a:cubicBezTo>
                  <a:pt x="717739" y="0"/>
                  <a:pt x="716785" y="0"/>
                  <a:pt x="716785" y="0"/>
                </a:cubicBezTo>
                <a:cubicBezTo>
                  <a:pt x="703430" y="0"/>
                  <a:pt x="691029" y="957"/>
                  <a:pt x="677674" y="957"/>
                </a:cubicBezTo>
                <a:cubicBezTo>
                  <a:pt x="676720" y="957"/>
                  <a:pt x="675766" y="957"/>
                  <a:pt x="674812" y="1913"/>
                </a:cubicBezTo>
                <a:cubicBezTo>
                  <a:pt x="662411" y="1913"/>
                  <a:pt x="650010" y="3826"/>
                  <a:pt x="636655" y="4783"/>
                </a:cubicBezTo>
                <a:cubicBezTo>
                  <a:pt x="636655" y="4783"/>
                  <a:pt x="635701" y="4783"/>
                  <a:pt x="635701" y="4783"/>
                </a:cubicBezTo>
                <a:lnTo>
                  <a:pt x="573890" y="15839"/>
                </a:lnTo>
                <a:lnTo>
                  <a:pt x="533340" y="19938"/>
                </a:lnTo>
                <a:cubicBezTo>
                  <a:pt x="229331" y="82309"/>
                  <a:pt x="0" y="352036"/>
                  <a:pt x="0" y="675960"/>
                </a:cubicBezTo>
                <a:cubicBezTo>
                  <a:pt x="0" y="1045202"/>
                  <a:pt x="299534" y="1344613"/>
                  <a:pt x="667751" y="1344613"/>
                </a:cubicBezTo>
                <a:cubicBezTo>
                  <a:pt x="695296" y="1344613"/>
                  <a:pt x="722453" y="1342939"/>
                  <a:pt x="749126" y="1339688"/>
                </a:cubicBezTo>
                <a:lnTo>
                  <a:pt x="766171" y="1336563"/>
                </a:lnTo>
                <a:lnTo>
                  <a:pt x="796915" y="1333480"/>
                </a:lnTo>
                <a:cubicBezTo>
                  <a:pt x="796915" y="1333480"/>
                  <a:pt x="797869" y="1333480"/>
                  <a:pt x="797869" y="1333480"/>
                </a:cubicBezTo>
                <a:cubicBezTo>
                  <a:pt x="986747" y="1311479"/>
                  <a:pt x="1151777" y="1210081"/>
                  <a:pt x="1257663" y="1062767"/>
                </a:cubicBezTo>
                <a:cubicBezTo>
                  <a:pt x="1363490" y="927948"/>
                  <a:pt x="1486830" y="845162"/>
                  <a:pt x="1613681" y="805243"/>
                </a:cubicBezTo>
                <a:lnTo>
                  <a:pt x="1683778" y="787924"/>
                </a:lnTo>
                <a:lnTo>
                  <a:pt x="1714809" y="784054"/>
                </a:lnTo>
                <a:cubicBezTo>
                  <a:pt x="1916445" y="770901"/>
                  <a:pt x="2130603" y="853407"/>
                  <a:pt x="2299925" y="1069117"/>
                </a:cubicBezTo>
                <a:cubicBezTo>
                  <a:pt x="2405811" y="1216431"/>
                  <a:pt x="2570841" y="1317829"/>
                  <a:pt x="2759719" y="1339830"/>
                </a:cubicBezTo>
                <a:cubicBezTo>
                  <a:pt x="2759719" y="1339830"/>
                  <a:pt x="2760673" y="1339830"/>
                  <a:pt x="2760673" y="1339830"/>
                </a:cubicBezTo>
                <a:cubicBezTo>
                  <a:pt x="2773074" y="1341743"/>
                  <a:pt x="2786429" y="1342700"/>
                  <a:pt x="2798831" y="1343657"/>
                </a:cubicBezTo>
                <a:cubicBezTo>
                  <a:pt x="2799784" y="1343657"/>
                  <a:pt x="2799784" y="1343657"/>
                  <a:pt x="2800738" y="1343657"/>
                </a:cubicBezTo>
                <a:cubicBezTo>
                  <a:pt x="2813139" y="1344613"/>
                  <a:pt x="2826495" y="1344613"/>
                  <a:pt x="2838896" y="1344613"/>
                </a:cubicBezTo>
                <a:cubicBezTo>
                  <a:pt x="2839850" y="1344613"/>
                  <a:pt x="2839850" y="1344613"/>
                  <a:pt x="2839850" y="1344613"/>
                </a:cubicBezTo>
                <a:cubicBezTo>
                  <a:pt x="2839850" y="1344613"/>
                  <a:pt x="2840803" y="1344613"/>
                  <a:pt x="2840803" y="1344613"/>
                </a:cubicBezTo>
                <a:cubicBezTo>
                  <a:pt x="2854158" y="1344613"/>
                  <a:pt x="2866560" y="1344613"/>
                  <a:pt x="2879915" y="1343657"/>
                </a:cubicBezTo>
                <a:cubicBezTo>
                  <a:pt x="2880868" y="1343657"/>
                  <a:pt x="2881822" y="1343657"/>
                  <a:pt x="2881822" y="1343657"/>
                </a:cubicBezTo>
                <a:cubicBezTo>
                  <a:pt x="2895177" y="1342700"/>
                  <a:pt x="2907579" y="1341743"/>
                  <a:pt x="2919980" y="1339830"/>
                </a:cubicBezTo>
                <a:cubicBezTo>
                  <a:pt x="2920934" y="1339830"/>
                  <a:pt x="2920934" y="1339830"/>
                  <a:pt x="2921887" y="1339830"/>
                </a:cubicBezTo>
                <a:lnTo>
                  <a:pt x="2986964" y="1328445"/>
                </a:lnTo>
                <a:lnTo>
                  <a:pt x="3024248" y="1324677"/>
                </a:lnTo>
                <a:cubicBezTo>
                  <a:pt x="3328257" y="1262319"/>
                  <a:pt x="3557588" y="992697"/>
                  <a:pt x="3557588" y="669610"/>
                </a:cubicBezTo>
                <a:cubicBezTo>
                  <a:pt x="3557588" y="299411"/>
                  <a:pt x="3258054" y="0"/>
                  <a:pt x="2889837" y="0"/>
                </a:cubicBez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2" name="TextBox 51">
            <a:extLst>
              <a:ext uri="{FF2B5EF4-FFF2-40B4-BE49-F238E27FC236}">
                <a16:creationId xmlns:a16="http://schemas.microsoft.com/office/drawing/2014/main" id="{C76ECF57-B9D4-39A4-AA3D-AA50E262EE8A}"/>
              </a:ext>
            </a:extLst>
          </p:cNvPr>
          <p:cNvSpPr txBox="1"/>
          <p:nvPr/>
        </p:nvSpPr>
        <p:spPr>
          <a:xfrm>
            <a:off x="9648782" y="1389491"/>
            <a:ext cx="385737" cy="688256"/>
          </a:xfrm>
          <a:prstGeom prst="rect">
            <a:avLst/>
          </a:prstGeom>
          <a:noFill/>
        </p:spPr>
        <p:txBody>
          <a:bodyPr wrap="square" lIns="36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prstClr val="white"/>
                </a:solidFill>
                <a:effectLst/>
                <a:uLnTx/>
                <a:uFillTx/>
                <a:latin typeface="Calibri"/>
                <a:ea typeface="+mn-ea"/>
                <a:cs typeface="+mn-cs"/>
              </a:rPr>
              <a:t>3</a:t>
            </a:r>
          </a:p>
        </p:txBody>
      </p:sp>
      <p:sp>
        <p:nvSpPr>
          <p:cNvPr id="53" name="Rectangle 52">
            <a:extLst>
              <a:ext uri="{FF2B5EF4-FFF2-40B4-BE49-F238E27FC236}">
                <a16:creationId xmlns:a16="http://schemas.microsoft.com/office/drawing/2014/main" id="{DA78DA24-4400-8738-A3A8-E3CABC3AC10A}"/>
              </a:ext>
            </a:extLst>
          </p:cNvPr>
          <p:cNvSpPr/>
          <p:nvPr/>
        </p:nvSpPr>
        <p:spPr>
          <a:xfrm>
            <a:off x="5319787" y="2636055"/>
            <a:ext cx="2624432"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chemeClr val="accent2"/>
                </a:solidFill>
                <a:effectLst/>
                <a:uLnTx/>
                <a:uFillTx/>
                <a:latin typeface="Calibri Light" panose="020F0302020204030204" pitchFamily="34" charset="0"/>
                <a:cs typeface="Calibri Light" panose="020F0302020204030204" pitchFamily="34" charset="0"/>
              </a:rPr>
              <a:t>2.Capacity Building: </a:t>
            </a:r>
            <a:endPar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p:sp>
        <p:nvSpPr>
          <p:cNvPr id="54" name="Rectangle 53">
            <a:extLst>
              <a:ext uri="{FF2B5EF4-FFF2-40B4-BE49-F238E27FC236}">
                <a16:creationId xmlns:a16="http://schemas.microsoft.com/office/drawing/2014/main" id="{1C104B66-3175-C0ED-427C-D74EA3186A4C}"/>
              </a:ext>
            </a:extLst>
          </p:cNvPr>
          <p:cNvSpPr/>
          <p:nvPr/>
        </p:nvSpPr>
        <p:spPr>
          <a:xfrm>
            <a:off x="9199296" y="2636054"/>
            <a:ext cx="2589288" cy="24622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chemeClr val="accent3"/>
                </a:solidFill>
                <a:effectLst/>
                <a:uLnTx/>
                <a:uFillTx/>
                <a:latin typeface="Calibri Light" panose="020F0302020204030204" pitchFamily="34" charset="0"/>
                <a:cs typeface="Calibri Light" panose="020F0302020204030204" pitchFamily="34" charset="0"/>
              </a:rPr>
              <a:t>3.Policy Support</a:t>
            </a:r>
            <a:endParaRPr kumimoji="0" lang="en-US" sz="1600" b="0" i="0" u="none" strike="noStrike" kern="1200" cap="none" spc="0" normalizeH="0" baseline="0" noProof="0" dirty="0">
              <a:ln>
                <a:noFill/>
              </a:ln>
              <a:solidFill>
                <a:srgbClr val="000000"/>
              </a:solidFill>
              <a:effectLst/>
              <a:uLnTx/>
              <a:uFillTx/>
              <a:latin typeface="Calibri Light" panose="020F0302020204030204" pitchFamily="34" charset="0"/>
              <a:cs typeface="Calibri Light" panose="020F0302020204030204" pitchFamily="34" charset="0"/>
            </a:endParaRPr>
          </a:p>
        </p:txBody>
      </p:sp>
      <p:sp>
        <p:nvSpPr>
          <p:cNvPr id="58" name="Arc 57">
            <a:extLst>
              <a:ext uri="{FF2B5EF4-FFF2-40B4-BE49-F238E27FC236}">
                <a16:creationId xmlns:a16="http://schemas.microsoft.com/office/drawing/2014/main" id="{76EB06F4-95DE-75D6-8AAA-972AF2B69D96}"/>
              </a:ext>
            </a:extLst>
          </p:cNvPr>
          <p:cNvSpPr/>
          <p:nvPr/>
        </p:nvSpPr>
        <p:spPr>
          <a:xfrm rot="6739027">
            <a:off x="4950818" y="1293953"/>
            <a:ext cx="617932" cy="608660"/>
          </a:xfrm>
          <a:prstGeom prst="arc">
            <a:avLst>
              <a:gd name="adj1" fmla="val 15382243"/>
              <a:gd name="adj2" fmla="val 1177101"/>
            </a:avLst>
          </a:prstGeom>
          <a:solidFill>
            <a:schemeClr val="accent2"/>
          </a:solidFill>
          <a:ln>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Arc 59">
            <a:extLst>
              <a:ext uri="{FF2B5EF4-FFF2-40B4-BE49-F238E27FC236}">
                <a16:creationId xmlns:a16="http://schemas.microsoft.com/office/drawing/2014/main" id="{F20F1C95-BC89-C936-A423-71635B650FCB}"/>
              </a:ext>
            </a:extLst>
          </p:cNvPr>
          <p:cNvSpPr/>
          <p:nvPr/>
        </p:nvSpPr>
        <p:spPr>
          <a:xfrm rot="6739027">
            <a:off x="1075778" y="1306653"/>
            <a:ext cx="617932" cy="608660"/>
          </a:xfrm>
          <a:prstGeom prst="arc">
            <a:avLst>
              <a:gd name="adj1" fmla="val 15382243"/>
              <a:gd name="adj2" fmla="val 1177101"/>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1" name="Arc 60">
            <a:extLst>
              <a:ext uri="{FF2B5EF4-FFF2-40B4-BE49-F238E27FC236}">
                <a16:creationId xmlns:a16="http://schemas.microsoft.com/office/drawing/2014/main" id="{E4C70383-800A-0772-FD3B-B52B4918A280}"/>
              </a:ext>
            </a:extLst>
          </p:cNvPr>
          <p:cNvSpPr/>
          <p:nvPr/>
        </p:nvSpPr>
        <p:spPr>
          <a:xfrm rot="6739027">
            <a:off x="8805095" y="1294102"/>
            <a:ext cx="617932" cy="608660"/>
          </a:xfrm>
          <a:prstGeom prst="arc">
            <a:avLst>
              <a:gd name="adj1" fmla="val 15382243"/>
              <a:gd name="adj2" fmla="val 1177101"/>
            </a:avLst>
          </a:prstGeom>
          <a:solidFill>
            <a:schemeClr val="accent3"/>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cxnSp>
        <p:nvCxnSpPr>
          <p:cNvPr id="62" name="Straight Arrow Connector 61">
            <a:extLst>
              <a:ext uri="{FF2B5EF4-FFF2-40B4-BE49-F238E27FC236}">
                <a16:creationId xmlns:a16="http://schemas.microsoft.com/office/drawing/2014/main" id="{ED563BFC-A142-37F6-C9E2-2961E87E3FA2}"/>
              </a:ext>
            </a:extLst>
          </p:cNvPr>
          <p:cNvCxnSpPr/>
          <p:nvPr/>
        </p:nvCxnSpPr>
        <p:spPr>
          <a:xfrm flipH="1">
            <a:off x="1317671" y="2166412"/>
            <a:ext cx="4732" cy="3237506"/>
          </a:xfrm>
          <a:prstGeom prst="straightConnector1">
            <a:avLst/>
          </a:prstGeom>
          <a:ln>
            <a:solidFill>
              <a:schemeClr val="accent1"/>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0A04AF4D-7A9C-27F5-4C1E-B7047746C580}"/>
              </a:ext>
            </a:extLst>
          </p:cNvPr>
          <p:cNvCxnSpPr/>
          <p:nvPr/>
        </p:nvCxnSpPr>
        <p:spPr>
          <a:xfrm flipH="1">
            <a:off x="5205412" y="2166412"/>
            <a:ext cx="4732" cy="3237506"/>
          </a:xfrm>
          <a:prstGeom prst="straightConnector1">
            <a:avLst/>
          </a:prstGeom>
          <a:ln>
            <a:solidFill>
              <a:schemeClr val="accent2"/>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8CC5089D-C955-F0E2-766E-C9C47824882A}"/>
              </a:ext>
            </a:extLst>
          </p:cNvPr>
          <p:cNvCxnSpPr/>
          <p:nvPr/>
        </p:nvCxnSpPr>
        <p:spPr>
          <a:xfrm flipH="1">
            <a:off x="9077152" y="2166413"/>
            <a:ext cx="4732" cy="3237506"/>
          </a:xfrm>
          <a:prstGeom prst="straightConnector1">
            <a:avLst/>
          </a:prstGeom>
          <a:ln>
            <a:solidFill>
              <a:schemeClr val="accent3"/>
            </a:solidFill>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nvGrpSpPr>
          <p:cNvPr id="88" name="Group 597">
            <a:extLst>
              <a:ext uri="{FF2B5EF4-FFF2-40B4-BE49-F238E27FC236}">
                <a16:creationId xmlns:a16="http://schemas.microsoft.com/office/drawing/2014/main" id="{07C3D48F-ABCA-C84F-74E6-0C32997A081B}"/>
              </a:ext>
            </a:extLst>
          </p:cNvPr>
          <p:cNvGrpSpPr>
            <a:grpSpLocks noChangeAspect="1"/>
          </p:cNvGrpSpPr>
          <p:nvPr/>
        </p:nvGrpSpPr>
        <p:grpSpPr bwMode="auto">
          <a:xfrm>
            <a:off x="4538156" y="1914310"/>
            <a:ext cx="522740" cy="521209"/>
            <a:chOff x="2745" y="2621"/>
            <a:chExt cx="341" cy="340"/>
          </a:xfrm>
          <a:solidFill>
            <a:schemeClr val="bg1"/>
          </a:solidFill>
        </p:grpSpPr>
        <p:sp>
          <p:nvSpPr>
            <p:cNvPr id="89" name="Freeform 598">
              <a:extLst>
                <a:ext uri="{FF2B5EF4-FFF2-40B4-BE49-F238E27FC236}">
                  <a16:creationId xmlns:a16="http://schemas.microsoft.com/office/drawing/2014/main" id="{654B880E-498E-1627-D6E3-68596A045946}"/>
                </a:ext>
              </a:extLst>
            </p:cNvPr>
            <p:cNvSpPr>
              <a:spLocks noEditPoints="1"/>
            </p:cNvSpPr>
            <p:nvPr/>
          </p:nvSpPr>
          <p:spPr bwMode="auto">
            <a:xfrm>
              <a:off x="2824" y="2700"/>
              <a:ext cx="183" cy="181"/>
            </a:xfrm>
            <a:custGeom>
              <a:avLst/>
              <a:gdLst>
                <a:gd name="T0" fmla="*/ 137 w 274"/>
                <a:gd name="T1" fmla="*/ 197 h 273"/>
                <a:gd name="T2" fmla="*/ 137 w 274"/>
                <a:gd name="T3" fmla="*/ 212 h 273"/>
                <a:gd name="T4" fmla="*/ 91 w 274"/>
                <a:gd name="T5" fmla="*/ 257 h 273"/>
                <a:gd name="T6" fmla="*/ 55 w 274"/>
                <a:gd name="T7" fmla="*/ 273 h 273"/>
                <a:gd name="T8" fmla="*/ 53 w 274"/>
                <a:gd name="T9" fmla="*/ 273 h 273"/>
                <a:gd name="T10" fmla="*/ 16 w 274"/>
                <a:gd name="T11" fmla="*/ 257 h 273"/>
                <a:gd name="T12" fmla="*/ 0 w 274"/>
                <a:gd name="T13" fmla="*/ 219 h 273"/>
                <a:gd name="T14" fmla="*/ 16 w 274"/>
                <a:gd name="T15" fmla="*/ 182 h 273"/>
                <a:gd name="T16" fmla="*/ 84 w 274"/>
                <a:gd name="T17" fmla="*/ 114 h 273"/>
                <a:gd name="T18" fmla="*/ 120 w 274"/>
                <a:gd name="T19" fmla="*/ 98 h 273"/>
                <a:gd name="T20" fmla="*/ 159 w 274"/>
                <a:gd name="T21" fmla="*/ 114 h 273"/>
                <a:gd name="T22" fmla="*/ 159 w 274"/>
                <a:gd name="T23" fmla="*/ 129 h 273"/>
                <a:gd name="T24" fmla="*/ 144 w 274"/>
                <a:gd name="T25" fmla="*/ 129 h 273"/>
                <a:gd name="T26" fmla="*/ 121 w 274"/>
                <a:gd name="T27" fmla="*/ 119 h 273"/>
                <a:gd name="T28" fmla="*/ 99 w 274"/>
                <a:gd name="T29" fmla="*/ 129 h 273"/>
                <a:gd name="T30" fmla="*/ 31 w 274"/>
                <a:gd name="T31" fmla="*/ 197 h 273"/>
                <a:gd name="T32" fmla="*/ 21 w 274"/>
                <a:gd name="T33" fmla="*/ 219 h 273"/>
                <a:gd name="T34" fmla="*/ 31 w 274"/>
                <a:gd name="T35" fmla="*/ 242 h 273"/>
                <a:gd name="T36" fmla="*/ 54 w 274"/>
                <a:gd name="T37" fmla="*/ 252 h 273"/>
                <a:gd name="T38" fmla="*/ 76 w 274"/>
                <a:gd name="T39" fmla="*/ 242 h 273"/>
                <a:gd name="T40" fmla="*/ 122 w 274"/>
                <a:gd name="T41" fmla="*/ 197 h 273"/>
                <a:gd name="T42" fmla="*/ 137 w 274"/>
                <a:gd name="T43" fmla="*/ 197 h 273"/>
                <a:gd name="T44" fmla="*/ 257 w 274"/>
                <a:gd name="T45" fmla="*/ 16 h 273"/>
                <a:gd name="T46" fmla="*/ 219 w 274"/>
                <a:gd name="T47" fmla="*/ 0 h 273"/>
                <a:gd name="T48" fmla="*/ 182 w 274"/>
                <a:gd name="T49" fmla="*/ 16 h 273"/>
                <a:gd name="T50" fmla="*/ 137 w 274"/>
                <a:gd name="T51" fmla="*/ 61 h 273"/>
                <a:gd name="T52" fmla="*/ 137 w 274"/>
                <a:gd name="T53" fmla="*/ 76 h 273"/>
                <a:gd name="T54" fmla="*/ 152 w 274"/>
                <a:gd name="T55" fmla="*/ 76 h 273"/>
                <a:gd name="T56" fmla="*/ 197 w 274"/>
                <a:gd name="T57" fmla="*/ 31 h 273"/>
                <a:gd name="T58" fmla="*/ 219 w 274"/>
                <a:gd name="T59" fmla="*/ 21 h 273"/>
                <a:gd name="T60" fmla="*/ 242 w 274"/>
                <a:gd name="T61" fmla="*/ 31 h 273"/>
                <a:gd name="T62" fmla="*/ 252 w 274"/>
                <a:gd name="T63" fmla="*/ 54 h 273"/>
                <a:gd name="T64" fmla="*/ 242 w 274"/>
                <a:gd name="T65" fmla="*/ 76 h 273"/>
                <a:gd name="T66" fmla="*/ 174 w 274"/>
                <a:gd name="T67" fmla="*/ 144 h 273"/>
                <a:gd name="T68" fmla="*/ 152 w 274"/>
                <a:gd name="T69" fmla="*/ 154 h 273"/>
                <a:gd name="T70" fmla="*/ 129 w 274"/>
                <a:gd name="T71" fmla="*/ 144 h 273"/>
                <a:gd name="T72" fmla="*/ 114 w 274"/>
                <a:gd name="T73" fmla="*/ 144 h 273"/>
                <a:gd name="T74" fmla="*/ 114 w 274"/>
                <a:gd name="T75" fmla="*/ 159 h 273"/>
                <a:gd name="T76" fmla="*/ 152 w 274"/>
                <a:gd name="T77" fmla="*/ 175 h 273"/>
                <a:gd name="T78" fmla="*/ 153 w 274"/>
                <a:gd name="T79" fmla="*/ 175 h 273"/>
                <a:gd name="T80" fmla="*/ 189 w 274"/>
                <a:gd name="T81" fmla="*/ 159 h 273"/>
                <a:gd name="T82" fmla="*/ 257 w 274"/>
                <a:gd name="T83" fmla="*/ 91 h 273"/>
                <a:gd name="T84" fmla="*/ 273 w 274"/>
                <a:gd name="T85" fmla="*/ 55 h 273"/>
                <a:gd name="T86" fmla="*/ 257 w 274"/>
                <a:gd name="T87" fmla="*/ 1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4" h="273">
                  <a:moveTo>
                    <a:pt x="137" y="197"/>
                  </a:moveTo>
                  <a:cubicBezTo>
                    <a:pt x="141" y="201"/>
                    <a:pt x="141" y="208"/>
                    <a:pt x="137" y="212"/>
                  </a:cubicBezTo>
                  <a:cubicBezTo>
                    <a:pt x="91" y="257"/>
                    <a:pt x="91" y="257"/>
                    <a:pt x="91" y="257"/>
                  </a:cubicBezTo>
                  <a:cubicBezTo>
                    <a:pt x="81" y="267"/>
                    <a:pt x="68" y="273"/>
                    <a:pt x="55" y="273"/>
                  </a:cubicBezTo>
                  <a:cubicBezTo>
                    <a:pt x="54" y="273"/>
                    <a:pt x="54" y="273"/>
                    <a:pt x="53" y="273"/>
                  </a:cubicBezTo>
                  <a:cubicBezTo>
                    <a:pt x="40" y="273"/>
                    <a:pt x="26" y="268"/>
                    <a:pt x="16" y="257"/>
                  </a:cubicBezTo>
                  <a:cubicBezTo>
                    <a:pt x="5" y="247"/>
                    <a:pt x="0" y="233"/>
                    <a:pt x="0" y="219"/>
                  </a:cubicBezTo>
                  <a:cubicBezTo>
                    <a:pt x="0" y="205"/>
                    <a:pt x="6" y="192"/>
                    <a:pt x="16" y="182"/>
                  </a:cubicBezTo>
                  <a:cubicBezTo>
                    <a:pt x="84" y="114"/>
                    <a:pt x="84" y="114"/>
                    <a:pt x="84" y="114"/>
                  </a:cubicBezTo>
                  <a:cubicBezTo>
                    <a:pt x="94" y="104"/>
                    <a:pt x="107" y="98"/>
                    <a:pt x="120" y="98"/>
                  </a:cubicBezTo>
                  <a:cubicBezTo>
                    <a:pt x="135" y="98"/>
                    <a:pt x="149" y="103"/>
                    <a:pt x="159" y="114"/>
                  </a:cubicBezTo>
                  <a:cubicBezTo>
                    <a:pt x="163" y="118"/>
                    <a:pt x="163" y="125"/>
                    <a:pt x="159" y="129"/>
                  </a:cubicBezTo>
                  <a:cubicBezTo>
                    <a:pt x="155" y="133"/>
                    <a:pt x="148" y="133"/>
                    <a:pt x="144" y="129"/>
                  </a:cubicBezTo>
                  <a:cubicBezTo>
                    <a:pt x="138" y="123"/>
                    <a:pt x="130" y="119"/>
                    <a:pt x="121" y="119"/>
                  </a:cubicBezTo>
                  <a:cubicBezTo>
                    <a:pt x="113" y="120"/>
                    <a:pt x="105" y="123"/>
                    <a:pt x="99" y="129"/>
                  </a:cubicBezTo>
                  <a:cubicBezTo>
                    <a:pt x="31" y="197"/>
                    <a:pt x="31" y="197"/>
                    <a:pt x="31" y="197"/>
                  </a:cubicBezTo>
                  <a:cubicBezTo>
                    <a:pt x="25" y="203"/>
                    <a:pt x="22" y="211"/>
                    <a:pt x="21" y="219"/>
                  </a:cubicBezTo>
                  <a:cubicBezTo>
                    <a:pt x="21" y="228"/>
                    <a:pt x="24" y="236"/>
                    <a:pt x="31" y="242"/>
                  </a:cubicBezTo>
                  <a:cubicBezTo>
                    <a:pt x="38" y="249"/>
                    <a:pt x="46" y="252"/>
                    <a:pt x="54" y="252"/>
                  </a:cubicBezTo>
                  <a:cubicBezTo>
                    <a:pt x="62" y="252"/>
                    <a:pt x="70" y="248"/>
                    <a:pt x="76" y="242"/>
                  </a:cubicBezTo>
                  <a:cubicBezTo>
                    <a:pt x="122" y="197"/>
                    <a:pt x="122" y="197"/>
                    <a:pt x="122" y="197"/>
                  </a:cubicBezTo>
                  <a:cubicBezTo>
                    <a:pt x="126" y="193"/>
                    <a:pt x="133" y="193"/>
                    <a:pt x="137" y="197"/>
                  </a:cubicBezTo>
                  <a:close/>
                  <a:moveTo>
                    <a:pt x="257" y="16"/>
                  </a:moveTo>
                  <a:cubicBezTo>
                    <a:pt x="247" y="5"/>
                    <a:pt x="233" y="0"/>
                    <a:pt x="219" y="0"/>
                  </a:cubicBezTo>
                  <a:cubicBezTo>
                    <a:pt x="205" y="0"/>
                    <a:pt x="192" y="6"/>
                    <a:pt x="182" y="16"/>
                  </a:cubicBezTo>
                  <a:cubicBezTo>
                    <a:pt x="137" y="61"/>
                    <a:pt x="137" y="61"/>
                    <a:pt x="137" y="61"/>
                  </a:cubicBezTo>
                  <a:cubicBezTo>
                    <a:pt x="133" y="65"/>
                    <a:pt x="133" y="72"/>
                    <a:pt x="137" y="76"/>
                  </a:cubicBezTo>
                  <a:cubicBezTo>
                    <a:pt x="141" y="80"/>
                    <a:pt x="148" y="80"/>
                    <a:pt x="152" y="76"/>
                  </a:cubicBezTo>
                  <a:cubicBezTo>
                    <a:pt x="197" y="31"/>
                    <a:pt x="197" y="31"/>
                    <a:pt x="197" y="31"/>
                  </a:cubicBezTo>
                  <a:cubicBezTo>
                    <a:pt x="203" y="25"/>
                    <a:pt x="211" y="22"/>
                    <a:pt x="219" y="21"/>
                  </a:cubicBezTo>
                  <a:cubicBezTo>
                    <a:pt x="228" y="21"/>
                    <a:pt x="236" y="24"/>
                    <a:pt x="242" y="31"/>
                  </a:cubicBezTo>
                  <a:cubicBezTo>
                    <a:pt x="249" y="38"/>
                    <a:pt x="252" y="46"/>
                    <a:pt x="252" y="54"/>
                  </a:cubicBezTo>
                  <a:cubicBezTo>
                    <a:pt x="252" y="62"/>
                    <a:pt x="248" y="70"/>
                    <a:pt x="242" y="76"/>
                  </a:cubicBezTo>
                  <a:cubicBezTo>
                    <a:pt x="174" y="144"/>
                    <a:pt x="174" y="144"/>
                    <a:pt x="174" y="144"/>
                  </a:cubicBezTo>
                  <a:cubicBezTo>
                    <a:pt x="168" y="150"/>
                    <a:pt x="160" y="154"/>
                    <a:pt x="152" y="154"/>
                  </a:cubicBezTo>
                  <a:cubicBezTo>
                    <a:pt x="144" y="154"/>
                    <a:pt x="136" y="151"/>
                    <a:pt x="129" y="144"/>
                  </a:cubicBezTo>
                  <a:cubicBezTo>
                    <a:pt x="125" y="140"/>
                    <a:pt x="118" y="140"/>
                    <a:pt x="114" y="144"/>
                  </a:cubicBezTo>
                  <a:cubicBezTo>
                    <a:pt x="110" y="148"/>
                    <a:pt x="110" y="155"/>
                    <a:pt x="114" y="159"/>
                  </a:cubicBezTo>
                  <a:cubicBezTo>
                    <a:pt x="124" y="170"/>
                    <a:pt x="138" y="175"/>
                    <a:pt x="152" y="175"/>
                  </a:cubicBezTo>
                  <a:cubicBezTo>
                    <a:pt x="152" y="175"/>
                    <a:pt x="152" y="175"/>
                    <a:pt x="153" y="175"/>
                  </a:cubicBezTo>
                  <a:cubicBezTo>
                    <a:pt x="167" y="175"/>
                    <a:pt x="180" y="169"/>
                    <a:pt x="189" y="159"/>
                  </a:cubicBezTo>
                  <a:cubicBezTo>
                    <a:pt x="257" y="91"/>
                    <a:pt x="257" y="91"/>
                    <a:pt x="257" y="91"/>
                  </a:cubicBezTo>
                  <a:cubicBezTo>
                    <a:pt x="267" y="81"/>
                    <a:pt x="273" y="68"/>
                    <a:pt x="273" y="55"/>
                  </a:cubicBezTo>
                  <a:cubicBezTo>
                    <a:pt x="274" y="40"/>
                    <a:pt x="268" y="27"/>
                    <a:pt x="257" y="1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sp>
          <p:nvSpPr>
            <p:cNvPr id="90" name="Freeform 599">
              <a:extLst>
                <a:ext uri="{FF2B5EF4-FFF2-40B4-BE49-F238E27FC236}">
                  <a16:creationId xmlns:a16="http://schemas.microsoft.com/office/drawing/2014/main" id="{AF850385-94B8-F943-8DB4-CBA9BCE03FFF}"/>
                </a:ext>
              </a:extLst>
            </p:cNvPr>
            <p:cNvSpPr>
              <a:spLocks noEditPoints="1"/>
            </p:cNvSpPr>
            <p:nvPr/>
          </p:nvSpPr>
          <p:spPr bwMode="auto">
            <a:xfrm>
              <a:off x="2745" y="2621"/>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cxnSp>
        <p:nvCxnSpPr>
          <p:cNvPr id="91" name="Straight Connector 90">
            <a:extLst>
              <a:ext uri="{FF2B5EF4-FFF2-40B4-BE49-F238E27FC236}">
                <a16:creationId xmlns:a16="http://schemas.microsoft.com/office/drawing/2014/main" id="{B5BADA9D-5FFF-367A-1A03-BA77A2283457}"/>
              </a:ext>
            </a:extLst>
          </p:cNvPr>
          <p:cNvCxnSpPr/>
          <p:nvPr/>
        </p:nvCxnSpPr>
        <p:spPr>
          <a:xfrm>
            <a:off x="552745" y="3128499"/>
            <a:ext cx="11277600" cy="0"/>
          </a:xfrm>
          <a:prstGeom prst="line">
            <a:avLst/>
          </a:prstGeom>
          <a:ln>
            <a:solidFill>
              <a:schemeClr val="bg1">
                <a:lumMod val="50000"/>
              </a:schemeClr>
            </a:solidFill>
            <a:prstDash val="dash"/>
            <a:headEnd type="diamond" w="med" len="med"/>
            <a:tailEnd type="diamond" w="med" len="med"/>
          </a:ln>
        </p:spPr>
        <p:style>
          <a:lnRef idx="1">
            <a:schemeClr val="accent1"/>
          </a:lnRef>
          <a:fillRef idx="0">
            <a:schemeClr val="accent1"/>
          </a:fillRef>
          <a:effectRef idx="0">
            <a:schemeClr val="accent1"/>
          </a:effectRef>
          <a:fontRef idx="minor">
            <a:schemeClr val="tx1"/>
          </a:fontRef>
        </p:style>
      </p:cxnSp>
      <p:grpSp>
        <p:nvGrpSpPr>
          <p:cNvPr id="92" name="Graphic 5">
            <a:extLst>
              <a:ext uri="{FF2B5EF4-FFF2-40B4-BE49-F238E27FC236}">
                <a16:creationId xmlns:a16="http://schemas.microsoft.com/office/drawing/2014/main" id="{0B80714B-5660-78D7-A5FE-58C877D28749}"/>
              </a:ext>
            </a:extLst>
          </p:cNvPr>
          <p:cNvGrpSpPr/>
          <p:nvPr/>
        </p:nvGrpSpPr>
        <p:grpSpPr>
          <a:xfrm>
            <a:off x="681007" y="1948314"/>
            <a:ext cx="508402" cy="507928"/>
            <a:chOff x="10935099" y="3340900"/>
            <a:chExt cx="362309" cy="361971"/>
          </a:xfrm>
          <a:solidFill>
            <a:schemeClr val="bg1"/>
          </a:solidFill>
        </p:grpSpPr>
        <p:sp>
          <p:nvSpPr>
            <p:cNvPr id="93" name="Graphic 5">
              <a:extLst>
                <a:ext uri="{FF2B5EF4-FFF2-40B4-BE49-F238E27FC236}">
                  <a16:creationId xmlns:a16="http://schemas.microsoft.com/office/drawing/2014/main" id="{F5B88452-10FA-2AFC-E9C8-FF507A46F908}"/>
                </a:ext>
              </a:extLst>
            </p:cNvPr>
            <p:cNvSpPr/>
            <p:nvPr/>
          </p:nvSpPr>
          <p:spPr>
            <a:xfrm>
              <a:off x="10935099" y="3340900"/>
              <a:ext cx="362309" cy="361971"/>
            </a:xfrm>
            <a:custGeom>
              <a:avLst/>
              <a:gdLst>
                <a:gd name="connsiteX0" fmla="*/ 180835 w 362309"/>
                <a:gd name="connsiteY0" fmla="*/ 0 h 361971"/>
                <a:gd name="connsiteX1" fmla="*/ 0 w 362309"/>
                <a:gd name="connsiteY1" fmla="*/ 181305 h 361971"/>
                <a:gd name="connsiteX2" fmla="*/ 181474 w 362309"/>
                <a:gd name="connsiteY2" fmla="*/ 361972 h 361971"/>
                <a:gd name="connsiteX3" fmla="*/ 362309 w 362309"/>
                <a:gd name="connsiteY3" fmla="*/ 180667 h 361971"/>
                <a:gd name="connsiteX4" fmla="*/ 180835 w 362309"/>
                <a:gd name="connsiteY4" fmla="*/ 0 h 361971"/>
                <a:gd name="connsiteX5" fmla="*/ 180835 w 362309"/>
                <a:gd name="connsiteY5" fmla="*/ 0 h 361971"/>
                <a:gd name="connsiteX6" fmla="*/ 180835 w 362309"/>
                <a:gd name="connsiteY6" fmla="*/ 348565 h 361971"/>
                <a:gd name="connsiteX7" fmla="*/ 12780 w 362309"/>
                <a:gd name="connsiteY7" fmla="*/ 180028 h 361971"/>
                <a:gd name="connsiteX8" fmla="*/ 181474 w 362309"/>
                <a:gd name="connsiteY8" fmla="*/ 12129 h 361971"/>
                <a:gd name="connsiteX9" fmla="*/ 349529 w 362309"/>
                <a:gd name="connsiteY9" fmla="*/ 180667 h 361971"/>
                <a:gd name="connsiteX10" fmla="*/ 180835 w 362309"/>
                <a:gd name="connsiteY10" fmla="*/ 34856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2309" h="361971">
                  <a:moveTo>
                    <a:pt x="180835" y="0"/>
                  </a:moveTo>
                  <a:cubicBezTo>
                    <a:pt x="80513" y="0"/>
                    <a:pt x="0" y="81077"/>
                    <a:pt x="0" y="181305"/>
                  </a:cubicBezTo>
                  <a:cubicBezTo>
                    <a:pt x="0" y="281533"/>
                    <a:pt x="81152" y="361972"/>
                    <a:pt x="181474" y="361972"/>
                  </a:cubicBezTo>
                  <a:cubicBezTo>
                    <a:pt x="281796" y="361972"/>
                    <a:pt x="362309" y="280895"/>
                    <a:pt x="362309" y="180667"/>
                  </a:cubicBezTo>
                  <a:cubicBezTo>
                    <a:pt x="362309" y="80438"/>
                    <a:pt x="281157" y="0"/>
                    <a:pt x="180835" y="0"/>
                  </a:cubicBezTo>
                  <a:cubicBezTo>
                    <a:pt x="180835" y="0"/>
                    <a:pt x="180835" y="0"/>
                    <a:pt x="180835" y="0"/>
                  </a:cubicBezTo>
                  <a:close/>
                  <a:moveTo>
                    <a:pt x="180835" y="348565"/>
                  </a:moveTo>
                  <a:cubicBezTo>
                    <a:pt x="87542" y="348565"/>
                    <a:pt x="12780" y="273234"/>
                    <a:pt x="12780" y="180028"/>
                  </a:cubicBezTo>
                  <a:cubicBezTo>
                    <a:pt x="12780" y="86822"/>
                    <a:pt x="88181" y="12129"/>
                    <a:pt x="181474" y="12129"/>
                  </a:cubicBezTo>
                  <a:cubicBezTo>
                    <a:pt x="274128" y="12129"/>
                    <a:pt x="349529" y="87461"/>
                    <a:pt x="349529" y="180667"/>
                  </a:cubicBezTo>
                  <a:cubicBezTo>
                    <a:pt x="349529" y="273873"/>
                    <a:pt x="274128" y="348565"/>
                    <a:pt x="180835" y="348565"/>
                  </a:cubicBezTo>
                  <a:close/>
                </a:path>
              </a:pathLst>
            </a:custGeom>
            <a:grpFill/>
            <a:ln w="6390" cap="flat">
              <a:solidFill>
                <a:schemeClr val="bg1"/>
              </a:solidFill>
              <a:prstDash val="solid"/>
              <a:miter/>
            </a:ln>
          </p:spPr>
          <p:txBody>
            <a:bodyPr rtlCol="0" anchor="ctr"/>
            <a:lstStyle/>
            <a:p>
              <a:endParaRPr lang="en-US"/>
            </a:p>
          </p:txBody>
        </p:sp>
        <p:sp>
          <p:nvSpPr>
            <p:cNvPr id="94" name="Graphic 5">
              <a:extLst>
                <a:ext uri="{FF2B5EF4-FFF2-40B4-BE49-F238E27FC236}">
                  <a16:creationId xmlns:a16="http://schemas.microsoft.com/office/drawing/2014/main" id="{592F8F24-312E-6396-3764-947C158F54B8}"/>
                </a:ext>
              </a:extLst>
            </p:cNvPr>
            <p:cNvSpPr/>
            <p:nvPr/>
          </p:nvSpPr>
          <p:spPr>
            <a:xfrm>
              <a:off x="11000015" y="3407932"/>
              <a:ext cx="230916" cy="227269"/>
            </a:xfrm>
            <a:custGeom>
              <a:avLst/>
              <a:gdLst>
                <a:gd name="connsiteX0" fmla="*/ 227743 w 230916"/>
                <a:gd name="connsiteY0" fmla="*/ 134064 h 227269"/>
                <a:gd name="connsiteX1" fmla="*/ 192599 w 230916"/>
                <a:gd name="connsiteY1" fmla="*/ 113635 h 227269"/>
                <a:gd name="connsiteX2" fmla="*/ 227743 w 230916"/>
                <a:gd name="connsiteY2" fmla="*/ 93206 h 227269"/>
                <a:gd name="connsiteX3" fmla="*/ 230299 w 230916"/>
                <a:gd name="connsiteY3" fmla="*/ 84269 h 227269"/>
                <a:gd name="connsiteX4" fmla="*/ 198350 w 230916"/>
                <a:gd name="connsiteY4" fmla="*/ 29366 h 227269"/>
                <a:gd name="connsiteX5" fmla="*/ 194516 w 230916"/>
                <a:gd name="connsiteY5" fmla="*/ 26174 h 227269"/>
                <a:gd name="connsiteX6" fmla="*/ 189404 w 230916"/>
                <a:gd name="connsiteY6" fmla="*/ 26813 h 227269"/>
                <a:gd name="connsiteX7" fmla="*/ 153620 w 230916"/>
                <a:gd name="connsiteY7" fmla="*/ 47241 h 227269"/>
                <a:gd name="connsiteX8" fmla="*/ 153620 w 230916"/>
                <a:gd name="connsiteY8" fmla="*/ 6384 h 227269"/>
                <a:gd name="connsiteX9" fmla="*/ 147230 w 230916"/>
                <a:gd name="connsiteY9" fmla="*/ 0 h 227269"/>
                <a:gd name="connsiteX10" fmla="*/ 83970 w 230916"/>
                <a:gd name="connsiteY10" fmla="*/ 0 h 227269"/>
                <a:gd name="connsiteX11" fmla="*/ 77580 w 230916"/>
                <a:gd name="connsiteY11" fmla="*/ 6384 h 227269"/>
                <a:gd name="connsiteX12" fmla="*/ 77580 w 230916"/>
                <a:gd name="connsiteY12" fmla="*/ 47241 h 227269"/>
                <a:gd name="connsiteX13" fmla="*/ 41796 w 230916"/>
                <a:gd name="connsiteY13" fmla="*/ 26813 h 227269"/>
                <a:gd name="connsiteX14" fmla="*/ 36684 w 230916"/>
                <a:gd name="connsiteY14" fmla="*/ 26174 h 227269"/>
                <a:gd name="connsiteX15" fmla="*/ 32850 w 230916"/>
                <a:gd name="connsiteY15" fmla="*/ 29366 h 227269"/>
                <a:gd name="connsiteX16" fmla="*/ 900 w 230916"/>
                <a:gd name="connsiteY16" fmla="*/ 84269 h 227269"/>
                <a:gd name="connsiteX17" fmla="*/ 3457 w 230916"/>
                <a:gd name="connsiteY17" fmla="*/ 93206 h 227269"/>
                <a:gd name="connsiteX18" fmla="*/ 38601 w 230916"/>
                <a:gd name="connsiteY18" fmla="*/ 113635 h 227269"/>
                <a:gd name="connsiteX19" fmla="*/ 3457 w 230916"/>
                <a:gd name="connsiteY19" fmla="*/ 134064 h 227269"/>
                <a:gd name="connsiteX20" fmla="*/ 900 w 230916"/>
                <a:gd name="connsiteY20" fmla="*/ 143001 h 227269"/>
                <a:gd name="connsiteX21" fmla="*/ 900 w 230916"/>
                <a:gd name="connsiteY21" fmla="*/ 143001 h 227269"/>
                <a:gd name="connsiteX22" fmla="*/ 32850 w 230916"/>
                <a:gd name="connsiteY22" fmla="*/ 197903 h 227269"/>
                <a:gd name="connsiteX23" fmla="*/ 41796 w 230916"/>
                <a:gd name="connsiteY23" fmla="*/ 200457 h 227269"/>
                <a:gd name="connsiteX24" fmla="*/ 41796 w 230916"/>
                <a:gd name="connsiteY24" fmla="*/ 200457 h 227269"/>
                <a:gd name="connsiteX25" fmla="*/ 77580 w 230916"/>
                <a:gd name="connsiteY25" fmla="*/ 180028 h 227269"/>
                <a:gd name="connsiteX26" fmla="*/ 77580 w 230916"/>
                <a:gd name="connsiteY26" fmla="*/ 220886 h 227269"/>
                <a:gd name="connsiteX27" fmla="*/ 83970 w 230916"/>
                <a:gd name="connsiteY27" fmla="*/ 227270 h 227269"/>
                <a:gd name="connsiteX28" fmla="*/ 147230 w 230916"/>
                <a:gd name="connsiteY28" fmla="*/ 227270 h 227269"/>
                <a:gd name="connsiteX29" fmla="*/ 153620 w 230916"/>
                <a:gd name="connsiteY29" fmla="*/ 220886 h 227269"/>
                <a:gd name="connsiteX30" fmla="*/ 153620 w 230916"/>
                <a:gd name="connsiteY30" fmla="*/ 180028 h 227269"/>
                <a:gd name="connsiteX31" fmla="*/ 189404 w 230916"/>
                <a:gd name="connsiteY31" fmla="*/ 200457 h 227269"/>
                <a:gd name="connsiteX32" fmla="*/ 198350 w 230916"/>
                <a:gd name="connsiteY32" fmla="*/ 197903 h 227269"/>
                <a:gd name="connsiteX33" fmla="*/ 198350 w 230916"/>
                <a:gd name="connsiteY33" fmla="*/ 197903 h 227269"/>
                <a:gd name="connsiteX34" fmla="*/ 230299 w 230916"/>
                <a:gd name="connsiteY34" fmla="*/ 143001 h 227269"/>
                <a:gd name="connsiteX35" fmla="*/ 227743 w 230916"/>
                <a:gd name="connsiteY35" fmla="*/ 134064 h 227269"/>
                <a:gd name="connsiteX36" fmla="*/ 227743 w 230916"/>
                <a:gd name="connsiteY36" fmla="*/ 134064 h 227269"/>
                <a:gd name="connsiteX37" fmla="*/ 190682 w 230916"/>
                <a:gd name="connsiteY37" fmla="*/ 185774 h 227269"/>
                <a:gd name="connsiteX38" fmla="*/ 151064 w 230916"/>
                <a:gd name="connsiteY38" fmla="*/ 162792 h 227269"/>
                <a:gd name="connsiteX39" fmla="*/ 144674 w 230916"/>
                <a:gd name="connsiteY39" fmla="*/ 162792 h 227269"/>
                <a:gd name="connsiteX40" fmla="*/ 141479 w 230916"/>
                <a:gd name="connsiteY40" fmla="*/ 168537 h 227269"/>
                <a:gd name="connsiteX41" fmla="*/ 141479 w 230916"/>
                <a:gd name="connsiteY41" fmla="*/ 213863 h 227269"/>
                <a:gd name="connsiteX42" fmla="*/ 90998 w 230916"/>
                <a:gd name="connsiteY42" fmla="*/ 213863 h 227269"/>
                <a:gd name="connsiteX43" fmla="*/ 90998 w 230916"/>
                <a:gd name="connsiteY43" fmla="*/ 168537 h 227269"/>
                <a:gd name="connsiteX44" fmla="*/ 87803 w 230916"/>
                <a:gd name="connsiteY44" fmla="*/ 162792 h 227269"/>
                <a:gd name="connsiteX45" fmla="*/ 81413 w 230916"/>
                <a:gd name="connsiteY45" fmla="*/ 162792 h 227269"/>
                <a:gd name="connsiteX46" fmla="*/ 41796 w 230916"/>
                <a:gd name="connsiteY46" fmla="*/ 185774 h 227269"/>
                <a:gd name="connsiteX47" fmla="*/ 16236 w 230916"/>
                <a:gd name="connsiteY47" fmla="*/ 142363 h 227269"/>
                <a:gd name="connsiteX48" fmla="*/ 55854 w 230916"/>
                <a:gd name="connsiteY48" fmla="*/ 119381 h 227269"/>
                <a:gd name="connsiteX49" fmla="*/ 58410 w 230916"/>
                <a:gd name="connsiteY49" fmla="*/ 110443 h 227269"/>
                <a:gd name="connsiteX50" fmla="*/ 55854 w 230916"/>
                <a:gd name="connsiteY50" fmla="*/ 107889 h 227269"/>
                <a:gd name="connsiteX51" fmla="*/ 16236 w 230916"/>
                <a:gd name="connsiteY51" fmla="*/ 84907 h 227269"/>
                <a:gd name="connsiteX52" fmla="*/ 41796 w 230916"/>
                <a:gd name="connsiteY52" fmla="*/ 41496 h 227269"/>
                <a:gd name="connsiteX53" fmla="*/ 81413 w 230916"/>
                <a:gd name="connsiteY53" fmla="*/ 64478 h 227269"/>
                <a:gd name="connsiteX54" fmla="*/ 87803 w 230916"/>
                <a:gd name="connsiteY54" fmla="*/ 64478 h 227269"/>
                <a:gd name="connsiteX55" fmla="*/ 90998 w 230916"/>
                <a:gd name="connsiteY55" fmla="*/ 58733 h 227269"/>
                <a:gd name="connsiteX56" fmla="*/ 90998 w 230916"/>
                <a:gd name="connsiteY56" fmla="*/ 13406 h 227269"/>
                <a:gd name="connsiteX57" fmla="*/ 141479 w 230916"/>
                <a:gd name="connsiteY57" fmla="*/ 13406 h 227269"/>
                <a:gd name="connsiteX58" fmla="*/ 141479 w 230916"/>
                <a:gd name="connsiteY58" fmla="*/ 58733 h 227269"/>
                <a:gd name="connsiteX59" fmla="*/ 144674 w 230916"/>
                <a:gd name="connsiteY59" fmla="*/ 64478 h 227269"/>
                <a:gd name="connsiteX60" fmla="*/ 151064 w 230916"/>
                <a:gd name="connsiteY60" fmla="*/ 64478 h 227269"/>
                <a:gd name="connsiteX61" fmla="*/ 190682 w 230916"/>
                <a:gd name="connsiteY61" fmla="*/ 41496 h 227269"/>
                <a:gd name="connsiteX62" fmla="*/ 216242 w 230916"/>
                <a:gd name="connsiteY62" fmla="*/ 84907 h 227269"/>
                <a:gd name="connsiteX63" fmla="*/ 176624 w 230916"/>
                <a:gd name="connsiteY63" fmla="*/ 107889 h 227269"/>
                <a:gd name="connsiteX64" fmla="*/ 174068 w 230916"/>
                <a:gd name="connsiteY64" fmla="*/ 116827 h 227269"/>
                <a:gd name="connsiteX65" fmla="*/ 176624 w 230916"/>
                <a:gd name="connsiteY65" fmla="*/ 119381 h 227269"/>
                <a:gd name="connsiteX66" fmla="*/ 216242 w 230916"/>
                <a:gd name="connsiteY66" fmla="*/ 142363 h 227269"/>
                <a:gd name="connsiteX67" fmla="*/ 190682 w 230916"/>
                <a:gd name="connsiteY67" fmla="*/ 185774 h 22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30916" h="227269">
                  <a:moveTo>
                    <a:pt x="227743" y="134064"/>
                  </a:moveTo>
                  <a:lnTo>
                    <a:pt x="192599" y="113635"/>
                  </a:lnTo>
                  <a:lnTo>
                    <a:pt x="227743" y="93206"/>
                  </a:lnTo>
                  <a:cubicBezTo>
                    <a:pt x="230938" y="91291"/>
                    <a:pt x="231577" y="87461"/>
                    <a:pt x="230299" y="84269"/>
                  </a:cubicBezTo>
                  <a:lnTo>
                    <a:pt x="198350" y="29366"/>
                  </a:lnTo>
                  <a:cubicBezTo>
                    <a:pt x="197711" y="28089"/>
                    <a:pt x="195794" y="26813"/>
                    <a:pt x="194516" y="26174"/>
                  </a:cubicBezTo>
                  <a:cubicBezTo>
                    <a:pt x="192599" y="25536"/>
                    <a:pt x="191321" y="26174"/>
                    <a:pt x="189404" y="26813"/>
                  </a:cubicBezTo>
                  <a:lnTo>
                    <a:pt x="153620" y="47241"/>
                  </a:lnTo>
                  <a:lnTo>
                    <a:pt x="153620" y="6384"/>
                  </a:lnTo>
                  <a:cubicBezTo>
                    <a:pt x="153620" y="2553"/>
                    <a:pt x="151064" y="0"/>
                    <a:pt x="147230" y="0"/>
                  </a:cubicBezTo>
                  <a:lnTo>
                    <a:pt x="83970" y="0"/>
                  </a:lnTo>
                  <a:cubicBezTo>
                    <a:pt x="80136" y="0"/>
                    <a:pt x="77580" y="2553"/>
                    <a:pt x="77580" y="6384"/>
                  </a:cubicBezTo>
                  <a:lnTo>
                    <a:pt x="77580" y="47241"/>
                  </a:lnTo>
                  <a:lnTo>
                    <a:pt x="41796" y="26813"/>
                  </a:lnTo>
                  <a:cubicBezTo>
                    <a:pt x="40519" y="26174"/>
                    <a:pt x="38601" y="25536"/>
                    <a:pt x="36684" y="26174"/>
                  </a:cubicBezTo>
                  <a:cubicBezTo>
                    <a:pt x="34767" y="26813"/>
                    <a:pt x="33489" y="27451"/>
                    <a:pt x="32850" y="29366"/>
                  </a:cubicBezTo>
                  <a:lnTo>
                    <a:pt x="900" y="84269"/>
                  </a:lnTo>
                  <a:cubicBezTo>
                    <a:pt x="-1016" y="87461"/>
                    <a:pt x="262" y="91291"/>
                    <a:pt x="3457" y="93206"/>
                  </a:cubicBezTo>
                  <a:lnTo>
                    <a:pt x="38601" y="113635"/>
                  </a:lnTo>
                  <a:lnTo>
                    <a:pt x="3457" y="134064"/>
                  </a:lnTo>
                  <a:cubicBezTo>
                    <a:pt x="262" y="135979"/>
                    <a:pt x="-377" y="139809"/>
                    <a:pt x="900" y="143001"/>
                  </a:cubicBezTo>
                  <a:cubicBezTo>
                    <a:pt x="900" y="143001"/>
                    <a:pt x="900" y="143001"/>
                    <a:pt x="900" y="143001"/>
                  </a:cubicBezTo>
                  <a:lnTo>
                    <a:pt x="32850" y="197903"/>
                  </a:lnTo>
                  <a:cubicBezTo>
                    <a:pt x="34767" y="201095"/>
                    <a:pt x="38601" y="201734"/>
                    <a:pt x="41796" y="200457"/>
                  </a:cubicBezTo>
                  <a:cubicBezTo>
                    <a:pt x="41796" y="200457"/>
                    <a:pt x="41796" y="200457"/>
                    <a:pt x="41796" y="200457"/>
                  </a:cubicBezTo>
                  <a:lnTo>
                    <a:pt x="77580" y="180028"/>
                  </a:lnTo>
                  <a:lnTo>
                    <a:pt x="77580" y="220886"/>
                  </a:lnTo>
                  <a:cubicBezTo>
                    <a:pt x="77580" y="224716"/>
                    <a:pt x="80136" y="227270"/>
                    <a:pt x="83970" y="227270"/>
                  </a:cubicBezTo>
                  <a:lnTo>
                    <a:pt x="147230" y="227270"/>
                  </a:lnTo>
                  <a:cubicBezTo>
                    <a:pt x="151064" y="227270"/>
                    <a:pt x="153620" y="224716"/>
                    <a:pt x="153620" y="220886"/>
                  </a:cubicBezTo>
                  <a:lnTo>
                    <a:pt x="153620" y="180028"/>
                  </a:lnTo>
                  <a:lnTo>
                    <a:pt x="189404" y="200457"/>
                  </a:lnTo>
                  <a:cubicBezTo>
                    <a:pt x="192599" y="202372"/>
                    <a:pt x="196432" y="201095"/>
                    <a:pt x="198350" y="197903"/>
                  </a:cubicBezTo>
                  <a:cubicBezTo>
                    <a:pt x="198350" y="197903"/>
                    <a:pt x="198350" y="197903"/>
                    <a:pt x="198350" y="197903"/>
                  </a:cubicBezTo>
                  <a:lnTo>
                    <a:pt x="230299" y="143001"/>
                  </a:lnTo>
                  <a:cubicBezTo>
                    <a:pt x="231577" y="139809"/>
                    <a:pt x="230938" y="135979"/>
                    <a:pt x="227743" y="134064"/>
                  </a:cubicBezTo>
                  <a:cubicBezTo>
                    <a:pt x="227743" y="134064"/>
                    <a:pt x="227743" y="134064"/>
                    <a:pt x="227743" y="134064"/>
                  </a:cubicBezTo>
                  <a:close/>
                  <a:moveTo>
                    <a:pt x="190682" y="185774"/>
                  </a:moveTo>
                  <a:lnTo>
                    <a:pt x="151064" y="162792"/>
                  </a:lnTo>
                  <a:cubicBezTo>
                    <a:pt x="149147" y="161515"/>
                    <a:pt x="146591" y="161515"/>
                    <a:pt x="144674" y="162792"/>
                  </a:cubicBezTo>
                  <a:cubicBezTo>
                    <a:pt x="142758" y="164068"/>
                    <a:pt x="141479" y="165984"/>
                    <a:pt x="141479" y="168537"/>
                  </a:cubicBezTo>
                  <a:lnTo>
                    <a:pt x="141479" y="213863"/>
                  </a:lnTo>
                  <a:lnTo>
                    <a:pt x="90998" y="213863"/>
                  </a:lnTo>
                  <a:lnTo>
                    <a:pt x="90998" y="168537"/>
                  </a:lnTo>
                  <a:cubicBezTo>
                    <a:pt x="90998" y="165984"/>
                    <a:pt x="89721" y="164068"/>
                    <a:pt x="87803" y="162792"/>
                  </a:cubicBezTo>
                  <a:cubicBezTo>
                    <a:pt x="85887" y="161515"/>
                    <a:pt x="83331" y="161515"/>
                    <a:pt x="81413" y="162792"/>
                  </a:cubicBezTo>
                  <a:lnTo>
                    <a:pt x="41796" y="185774"/>
                  </a:lnTo>
                  <a:lnTo>
                    <a:pt x="16236" y="142363"/>
                  </a:lnTo>
                  <a:lnTo>
                    <a:pt x="55854" y="119381"/>
                  </a:lnTo>
                  <a:cubicBezTo>
                    <a:pt x="59049" y="117465"/>
                    <a:pt x="59688" y="113635"/>
                    <a:pt x="58410" y="110443"/>
                  </a:cubicBezTo>
                  <a:cubicBezTo>
                    <a:pt x="57771" y="109166"/>
                    <a:pt x="57132" y="108528"/>
                    <a:pt x="55854" y="107889"/>
                  </a:cubicBezTo>
                  <a:lnTo>
                    <a:pt x="16236" y="84907"/>
                  </a:lnTo>
                  <a:lnTo>
                    <a:pt x="41796" y="41496"/>
                  </a:lnTo>
                  <a:lnTo>
                    <a:pt x="81413" y="64478"/>
                  </a:lnTo>
                  <a:cubicBezTo>
                    <a:pt x="83331" y="65755"/>
                    <a:pt x="85887" y="65755"/>
                    <a:pt x="87803" y="64478"/>
                  </a:cubicBezTo>
                  <a:cubicBezTo>
                    <a:pt x="89721" y="63201"/>
                    <a:pt x="90998" y="61286"/>
                    <a:pt x="90998" y="58733"/>
                  </a:cubicBezTo>
                  <a:lnTo>
                    <a:pt x="90998" y="13406"/>
                  </a:lnTo>
                  <a:lnTo>
                    <a:pt x="141479" y="13406"/>
                  </a:lnTo>
                  <a:lnTo>
                    <a:pt x="141479" y="58733"/>
                  </a:lnTo>
                  <a:cubicBezTo>
                    <a:pt x="141479" y="61286"/>
                    <a:pt x="142758" y="63201"/>
                    <a:pt x="144674" y="64478"/>
                  </a:cubicBezTo>
                  <a:cubicBezTo>
                    <a:pt x="146591" y="65755"/>
                    <a:pt x="149147" y="65755"/>
                    <a:pt x="151064" y="64478"/>
                  </a:cubicBezTo>
                  <a:lnTo>
                    <a:pt x="190682" y="41496"/>
                  </a:lnTo>
                  <a:lnTo>
                    <a:pt x="216242" y="84907"/>
                  </a:lnTo>
                  <a:lnTo>
                    <a:pt x="176624" y="107889"/>
                  </a:lnTo>
                  <a:cubicBezTo>
                    <a:pt x="173429" y="109805"/>
                    <a:pt x="172790" y="113635"/>
                    <a:pt x="174068" y="116827"/>
                  </a:cubicBezTo>
                  <a:cubicBezTo>
                    <a:pt x="174707" y="118104"/>
                    <a:pt x="175346" y="118742"/>
                    <a:pt x="176624" y="119381"/>
                  </a:cubicBezTo>
                  <a:lnTo>
                    <a:pt x="216242" y="142363"/>
                  </a:lnTo>
                  <a:lnTo>
                    <a:pt x="190682" y="185774"/>
                  </a:lnTo>
                  <a:close/>
                </a:path>
              </a:pathLst>
            </a:custGeom>
            <a:grpFill/>
            <a:ln w="6390" cap="flat">
              <a:solidFill>
                <a:schemeClr val="bg1"/>
              </a:solidFill>
              <a:prstDash val="solid"/>
              <a:miter/>
            </a:ln>
          </p:spPr>
          <p:txBody>
            <a:bodyPr rtlCol="0" anchor="ctr"/>
            <a:lstStyle/>
            <a:p>
              <a:endParaRPr lang="en-US"/>
            </a:p>
          </p:txBody>
        </p:sp>
      </p:grpSp>
      <p:grpSp>
        <p:nvGrpSpPr>
          <p:cNvPr id="95" name="Graphic 4">
            <a:extLst>
              <a:ext uri="{FF2B5EF4-FFF2-40B4-BE49-F238E27FC236}">
                <a16:creationId xmlns:a16="http://schemas.microsoft.com/office/drawing/2014/main" id="{013BB8D4-A800-AF2B-7AE4-9E9FD6FAFA9C}"/>
              </a:ext>
            </a:extLst>
          </p:cNvPr>
          <p:cNvGrpSpPr/>
          <p:nvPr/>
        </p:nvGrpSpPr>
        <p:grpSpPr>
          <a:xfrm>
            <a:off x="8393778" y="1934073"/>
            <a:ext cx="534126" cy="535514"/>
            <a:chOff x="467743" y="2855717"/>
            <a:chExt cx="361670" cy="362610"/>
          </a:xfrm>
          <a:solidFill>
            <a:schemeClr val="bg1"/>
          </a:solidFill>
        </p:grpSpPr>
        <p:sp>
          <p:nvSpPr>
            <p:cNvPr id="96" name="Graphic 4">
              <a:extLst>
                <a:ext uri="{FF2B5EF4-FFF2-40B4-BE49-F238E27FC236}">
                  <a16:creationId xmlns:a16="http://schemas.microsoft.com/office/drawing/2014/main" id="{6CF2417A-3F46-6F87-A1CE-8EFD2740C6A6}"/>
                </a:ext>
              </a:extLst>
            </p:cNvPr>
            <p:cNvSpPr/>
            <p:nvPr/>
          </p:nvSpPr>
          <p:spPr>
            <a:xfrm>
              <a:off x="467743" y="2855717"/>
              <a:ext cx="361670" cy="362610"/>
            </a:xfrm>
            <a:custGeom>
              <a:avLst/>
              <a:gdLst>
                <a:gd name="connsiteX0" fmla="*/ 180835 w 361670"/>
                <a:gd name="connsiteY0" fmla="*/ 0 h 362610"/>
                <a:gd name="connsiteX1" fmla="*/ 0 w 361670"/>
                <a:gd name="connsiteY1" fmla="*/ 181305 h 362610"/>
                <a:gd name="connsiteX2" fmla="*/ 180835 w 361670"/>
                <a:gd name="connsiteY2" fmla="*/ 362610 h 362610"/>
                <a:gd name="connsiteX3" fmla="*/ 361670 w 361670"/>
                <a:gd name="connsiteY3" fmla="*/ 181305 h 362610"/>
                <a:gd name="connsiteX4" fmla="*/ 361670 w 361670"/>
                <a:gd name="connsiteY4" fmla="*/ 181305 h 362610"/>
                <a:gd name="connsiteX5" fmla="*/ 180835 w 361670"/>
                <a:gd name="connsiteY5" fmla="*/ 0 h 362610"/>
                <a:gd name="connsiteX6" fmla="*/ 180835 w 361670"/>
                <a:gd name="connsiteY6" fmla="*/ 0 h 362610"/>
                <a:gd name="connsiteX7" fmla="*/ 180835 w 361670"/>
                <a:gd name="connsiteY7" fmla="*/ 349204 h 362610"/>
                <a:gd name="connsiteX8" fmla="*/ 12780 w 361670"/>
                <a:gd name="connsiteY8" fmla="*/ 180667 h 362610"/>
                <a:gd name="connsiteX9" fmla="*/ 180835 w 361670"/>
                <a:gd name="connsiteY9" fmla="*/ 12130 h 362610"/>
                <a:gd name="connsiteX10" fmla="*/ 348891 w 361670"/>
                <a:gd name="connsiteY10" fmla="*/ 180667 h 362610"/>
                <a:gd name="connsiteX11" fmla="*/ 180835 w 361670"/>
                <a:gd name="connsiteY11" fmla="*/ 349204 h 36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670" h="362610">
                  <a:moveTo>
                    <a:pt x="180835" y="0"/>
                  </a:moveTo>
                  <a:cubicBezTo>
                    <a:pt x="80513" y="0"/>
                    <a:pt x="0" y="81076"/>
                    <a:pt x="0" y="181305"/>
                  </a:cubicBezTo>
                  <a:cubicBezTo>
                    <a:pt x="0" y="281533"/>
                    <a:pt x="81152" y="362610"/>
                    <a:pt x="180835" y="362610"/>
                  </a:cubicBezTo>
                  <a:cubicBezTo>
                    <a:pt x="280518" y="362610"/>
                    <a:pt x="361670" y="281533"/>
                    <a:pt x="361670" y="181305"/>
                  </a:cubicBezTo>
                  <a:cubicBezTo>
                    <a:pt x="361670" y="181305"/>
                    <a:pt x="361670" y="181305"/>
                    <a:pt x="361670" y="181305"/>
                  </a:cubicBezTo>
                  <a:cubicBezTo>
                    <a:pt x="361670" y="80438"/>
                    <a:pt x="281157" y="0"/>
                    <a:pt x="180835" y="0"/>
                  </a:cubicBezTo>
                  <a:cubicBezTo>
                    <a:pt x="180835" y="0"/>
                    <a:pt x="180835" y="0"/>
                    <a:pt x="180835" y="0"/>
                  </a:cubicBezTo>
                  <a:close/>
                  <a:moveTo>
                    <a:pt x="180835" y="349204"/>
                  </a:moveTo>
                  <a:cubicBezTo>
                    <a:pt x="87542" y="349204"/>
                    <a:pt x="12780" y="273873"/>
                    <a:pt x="12780" y="180667"/>
                  </a:cubicBezTo>
                  <a:cubicBezTo>
                    <a:pt x="12780" y="87460"/>
                    <a:pt x="88181" y="12130"/>
                    <a:pt x="180835" y="12130"/>
                  </a:cubicBezTo>
                  <a:cubicBezTo>
                    <a:pt x="273489" y="12130"/>
                    <a:pt x="348891" y="87460"/>
                    <a:pt x="348891" y="180667"/>
                  </a:cubicBezTo>
                  <a:cubicBezTo>
                    <a:pt x="348891" y="273234"/>
                    <a:pt x="273489" y="348565"/>
                    <a:pt x="180835" y="349204"/>
                  </a:cubicBezTo>
                  <a:close/>
                </a:path>
              </a:pathLst>
            </a:custGeom>
            <a:grpFill/>
            <a:ln w="6390" cap="flat">
              <a:solidFill>
                <a:schemeClr val="bg1"/>
              </a:solidFill>
              <a:prstDash val="solid"/>
              <a:miter/>
            </a:ln>
          </p:spPr>
          <p:txBody>
            <a:bodyPr rtlCol="0" anchor="ctr"/>
            <a:lstStyle/>
            <a:p>
              <a:endParaRPr lang="en-US"/>
            </a:p>
          </p:txBody>
        </p:sp>
        <p:sp>
          <p:nvSpPr>
            <p:cNvPr id="97" name="Graphic 4">
              <a:extLst>
                <a:ext uri="{FF2B5EF4-FFF2-40B4-BE49-F238E27FC236}">
                  <a16:creationId xmlns:a16="http://schemas.microsoft.com/office/drawing/2014/main" id="{143D2379-5B26-7295-6A2B-255159665A5F}"/>
                </a:ext>
              </a:extLst>
            </p:cNvPr>
            <p:cNvSpPr/>
            <p:nvPr/>
          </p:nvSpPr>
          <p:spPr>
            <a:xfrm>
              <a:off x="668387" y="2937084"/>
              <a:ext cx="80862" cy="80148"/>
            </a:xfrm>
            <a:custGeom>
              <a:avLst/>
              <a:gdLst>
                <a:gd name="connsiteX0" fmla="*/ 69011 w 80862"/>
                <a:gd name="connsiteY0" fmla="*/ 1626 h 80148"/>
                <a:gd name="connsiteX1" fmla="*/ 12780 w 80862"/>
                <a:gd name="connsiteY1" fmla="*/ 57805 h 80148"/>
                <a:gd name="connsiteX2" fmla="*/ 12780 w 80862"/>
                <a:gd name="connsiteY2" fmla="*/ 25246 h 80148"/>
                <a:gd name="connsiteX3" fmla="*/ 6390 w 80862"/>
                <a:gd name="connsiteY3" fmla="*/ 18862 h 80148"/>
                <a:gd name="connsiteX4" fmla="*/ 0 w 80862"/>
                <a:gd name="connsiteY4" fmla="*/ 25246 h 80148"/>
                <a:gd name="connsiteX5" fmla="*/ 0 w 80862"/>
                <a:gd name="connsiteY5" fmla="*/ 73126 h 80148"/>
                <a:gd name="connsiteX6" fmla="*/ 639 w 80862"/>
                <a:gd name="connsiteY6" fmla="*/ 75680 h 80148"/>
                <a:gd name="connsiteX7" fmla="*/ 639 w 80862"/>
                <a:gd name="connsiteY7" fmla="*/ 76318 h 80148"/>
                <a:gd name="connsiteX8" fmla="*/ 1278 w 80862"/>
                <a:gd name="connsiteY8" fmla="*/ 77595 h 80148"/>
                <a:gd name="connsiteX9" fmla="*/ 1917 w 80862"/>
                <a:gd name="connsiteY9" fmla="*/ 78234 h 80148"/>
                <a:gd name="connsiteX10" fmla="*/ 3834 w 80862"/>
                <a:gd name="connsiteY10" fmla="*/ 79510 h 80148"/>
                <a:gd name="connsiteX11" fmla="*/ 3834 w 80862"/>
                <a:gd name="connsiteY11" fmla="*/ 79510 h 80148"/>
                <a:gd name="connsiteX12" fmla="*/ 3834 w 80862"/>
                <a:gd name="connsiteY12" fmla="*/ 79510 h 80148"/>
                <a:gd name="connsiteX13" fmla="*/ 6390 w 80862"/>
                <a:gd name="connsiteY13" fmla="*/ 80149 h 80148"/>
                <a:gd name="connsiteX14" fmla="*/ 54314 w 80862"/>
                <a:gd name="connsiteY14" fmla="*/ 80149 h 80148"/>
                <a:gd name="connsiteX15" fmla="*/ 60704 w 80862"/>
                <a:gd name="connsiteY15" fmla="*/ 73765 h 80148"/>
                <a:gd name="connsiteX16" fmla="*/ 54314 w 80862"/>
                <a:gd name="connsiteY16" fmla="*/ 67381 h 80148"/>
                <a:gd name="connsiteX17" fmla="*/ 22365 w 80862"/>
                <a:gd name="connsiteY17" fmla="*/ 67381 h 80148"/>
                <a:gd name="connsiteX18" fmla="*/ 78596 w 80862"/>
                <a:gd name="connsiteY18" fmla="*/ 11202 h 80148"/>
                <a:gd name="connsiteX19" fmla="*/ 79235 w 80862"/>
                <a:gd name="connsiteY19" fmla="*/ 2264 h 80148"/>
                <a:gd name="connsiteX20" fmla="*/ 70289 w 80862"/>
                <a:gd name="connsiteY20" fmla="*/ 1626 h 80148"/>
                <a:gd name="connsiteX21" fmla="*/ 69011 w 80862"/>
                <a:gd name="connsiteY21" fmla="*/ 1626 h 80148"/>
                <a:gd name="connsiteX22" fmla="*/ 69011 w 80862"/>
                <a:gd name="connsiteY22" fmla="*/ 1626 h 8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0862" h="80148">
                  <a:moveTo>
                    <a:pt x="69011" y="1626"/>
                  </a:moveTo>
                  <a:lnTo>
                    <a:pt x="12780" y="57805"/>
                  </a:lnTo>
                  <a:lnTo>
                    <a:pt x="12780" y="25246"/>
                  </a:lnTo>
                  <a:cubicBezTo>
                    <a:pt x="12780" y="21416"/>
                    <a:pt x="10224" y="18862"/>
                    <a:pt x="6390" y="18862"/>
                  </a:cubicBezTo>
                  <a:cubicBezTo>
                    <a:pt x="2556" y="18862"/>
                    <a:pt x="0" y="21416"/>
                    <a:pt x="0" y="25246"/>
                  </a:cubicBezTo>
                  <a:lnTo>
                    <a:pt x="0" y="73126"/>
                  </a:lnTo>
                  <a:cubicBezTo>
                    <a:pt x="0" y="73765"/>
                    <a:pt x="0" y="74403"/>
                    <a:pt x="639" y="75680"/>
                  </a:cubicBezTo>
                  <a:cubicBezTo>
                    <a:pt x="639" y="75680"/>
                    <a:pt x="639" y="76318"/>
                    <a:pt x="639" y="76318"/>
                  </a:cubicBezTo>
                  <a:lnTo>
                    <a:pt x="1278" y="77595"/>
                  </a:lnTo>
                  <a:lnTo>
                    <a:pt x="1917" y="78234"/>
                  </a:lnTo>
                  <a:cubicBezTo>
                    <a:pt x="2556" y="78872"/>
                    <a:pt x="3195" y="78872"/>
                    <a:pt x="3834" y="79510"/>
                  </a:cubicBezTo>
                  <a:lnTo>
                    <a:pt x="3834" y="79510"/>
                  </a:lnTo>
                  <a:lnTo>
                    <a:pt x="3834" y="79510"/>
                  </a:lnTo>
                  <a:cubicBezTo>
                    <a:pt x="4473" y="79510"/>
                    <a:pt x="5112" y="80149"/>
                    <a:pt x="6390" y="80149"/>
                  </a:cubicBezTo>
                  <a:lnTo>
                    <a:pt x="54314" y="80149"/>
                  </a:lnTo>
                  <a:cubicBezTo>
                    <a:pt x="58148" y="80149"/>
                    <a:pt x="60704" y="77595"/>
                    <a:pt x="60704" y="73765"/>
                  </a:cubicBezTo>
                  <a:cubicBezTo>
                    <a:pt x="60704" y="69934"/>
                    <a:pt x="58148" y="67381"/>
                    <a:pt x="54314" y="67381"/>
                  </a:cubicBezTo>
                  <a:lnTo>
                    <a:pt x="22365" y="67381"/>
                  </a:lnTo>
                  <a:lnTo>
                    <a:pt x="78596" y="11202"/>
                  </a:lnTo>
                  <a:cubicBezTo>
                    <a:pt x="81152" y="8648"/>
                    <a:pt x="81791" y="4818"/>
                    <a:pt x="79235" y="2264"/>
                  </a:cubicBezTo>
                  <a:cubicBezTo>
                    <a:pt x="76679" y="-290"/>
                    <a:pt x="72845" y="-928"/>
                    <a:pt x="70289" y="1626"/>
                  </a:cubicBezTo>
                  <a:cubicBezTo>
                    <a:pt x="69650" y="987"/>
                    <a:pt x="69650" y="987"/>
                    <a:pt x="69011" y="1626"/>
                  </a:cubicBezTo>
                  <a:lnTo>
                    <a:pt x="69011" y="1626"/>
                  </a:lnTo>
                  <a:close/>
                </a:path>
              </a:pathLst>
            </a:custGeom>
            <a:grpFill/>
            <a:ln w="6390" cap="flat">
              <a:solidFill>
                <a:schemeClr val="bg1"/>
              </a:solidFill>
              <a:prstDash val="solid"/>
              <a:miter/>
            </a:ln>
          </p:spPr>
          <p:txBody>
            <a:bodyPr rtlCol="0" anchor="ctr"/>
            <a:lstStyle/>
            <a:p>
              <a:endParaRPr lang="en-US"/>
            </a:p>
          </p:txBody>
        </p:sp>
        <p:sp>
          <p:nvSpPr>
            <p:cNvPr id="98" name="Graphic 4">
              <a:extLst>
                <a:ext uri="{FF2B5EF4-FFF2-40B4-BE49-F238E27FC236}">
                  <a16:creationId xmlns:a16="http://schemas.microsoft.com/office/drawing/2014/main" id="{524AFB1E-1DC2-AF30-21CF-69010148DF08}"/>
                </a:ext>
              </a:extLst>
            </p:cNvPr>
            <p:cNvSpPr/>
            <p:nvPr/>
          </p:nvSpPr>
          <p:spPr>
            <a:xfrm>
              <a:off x="548895" y="3056174"/>
              <a:ext cx="79874" cy="79799"/>
            </a:xfrm>
            <a:custGeom>
              <a:avLst/>
              <a:gdLst>
                <a:gd name="connsiteX0" fmla="*/ 79235 w 79874"/>
                <a:gd name="connsiteY0" fmla="*/ 3830 h 79799"/>
                <a:gd name="connsiteX1" fmla="*/ 79235 w 79874"/>
                <a:gd name="connsiteY1" fmla="*/ 3830 h 79799"/>
                <a:gd name="connsiteX2" fmla="*/ 79235 w 79874"/>
                <a:gd name="connsiteY2" fmla="*/ 3830 h 79799"/>
                <a:gd name="connsiteX3" fmla="*/ 77957 w 79874"/>
                <a:gd name="connsiteY3" fmla="*/ 1915 h 79799"/>
                <a:gd name="connsiteX4" fmla="*/ 77318 w 79874"/>
                <a:gd name="connsiteY4" fmla="*/ 1277 h 79799"/>
                <a:gd name="connsiteX5" fmla="*/ 76040 w 79874"/>
                <a:gd name="connsiteY5" fmla="*/ 638 h 79799"/>
                <a:gd name="connsiteX6" fmla="*/ 75401 w 79874"/>
                <a:gd name="connsiteY6" fmla="*/ 638 h 79799"/>
                <a:gd name="connsiteX7" fmla="*/ 73484 w 79874"/>
                <a:gd name="connsiteY7" fmla="*/ 0 h 79799"/>
                <a:gd name="connsiteX8" fmla="*/ 25560 w 79874"/>
                <a:gd name="connsiteY8" fmla="*/ 0 h 79799"/>
                <a:gd name="connsiteX9" fmla="*/ 19170 w 79874"/>
                <a:gd name="connsiteY9" fmla="*/ 6384 h 79799"/>
                <a:gd name="connsiteX10" fmla="*/ 25560 w 79874"/>
                <a:gd name="connsiteY10" fmla="*/ 12768 h 79799"/>
                <a:gd name="connsiteX11" fmla="*/ 58148 w 79874"/>
                <a:gd name="connsiteY11" fmla="*/ 12768 h 79799"/>
                <a:gd name="connsiteX12" fmla="*/ 1917 w 79874"/>
                <a:gd name="connsiteY12" fmla="*/ 68947 h 79799"/>
                <a:gd name="connsiteX13" fmla="*/ 1917 w 79874"/>
                <a:gd name="connsiteY13" fmla="*/ 77884 h 79799"/>
                <a:gd name="connsiteX14" fmla="*/ 1917 w 79874"/>
                <a:gd name="connsiteY14" fmla="*/ 77884 h 79799"/>
                <a:gd name="connsiteX15" fmla="*/ 6390 w 79874"/>
                <a:gd name="connsiteY15" fmla="*/ 79800 h 79799"/>
                <a:gd name="connsiteX16" fmla="*/ 10863 w 79874"/>
                <a:gd name="connsiteY16" fmla="*/ 77884 h 79799"/>
                <a:gd name="connsiteX17" fmla="*/ 67094 w 79874"/>
                <a:gd name="connsiteY17" fmla="*/ 21706 h 79799"/>
                <a:gd name="connsiteX18" fmla="*/ 67094 w 79874"/>
                <a:gd name="connsiteY18" fmla="*/ 54264 h 79799"/>
                <a:gd name="connsiteX19" fmla="*/ 73484 w 79874"/>
                <a:gd name="connsiteY19" fmla="*/ 60648 h 79799"/>
                <a:gd name="connsiteX20" fmla="*/ 79874 w 79874"/>
                <a:gd name="connsiteY20" fmla="*/ 54264 h 79799"/>
                <a:gd name="connsiteX21" fmla="*/ 79874 w 79874"/>
                <a:gd name="connsiteY21" fmla="*/ 5746 h 79799"/>
                <a:gd name="connsiteX22" fmla="*/ 79235 w 79874"/>
                <a:gd name="connsiteY22" fmla="*/ 3830 h 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9874" h="79799">
                  <a:moveTo>
                    <a:pt x="79235" y="3830"/>
                  </a:moveTo>
                  <a:lnTo>
                    <a:pt x="79235" y="3830"/>
                  </a:lnTo>
                  <a:lnTo>
                    <a:pt x="79235" y="3830"/>
                  </a:lnTo>
                  <a:cubicBezTo>
                    <a:pt x="79235" y="3192"/>
                    <a:pt x="78596" y="2554"/>
                    <a:pt x="77957" y="1915"/>
                  </a:cubicBezTo>
                  <a:lnTo>
                    <a:pt x="77318" y="1277"/>
                  </a:lnTo>
                  <a:cubicBezTo>
                    <a:pt x="76679" y="638"/>
                    <a:pt x="76679" y="638"/>
                    <a:pt x="76040" y="638"/>
                  </a:cubicBezTo>
                  <a:lnTo>
                    <a:pt x="75401" y="638"/>
                  </a:lnTo>
                  <a:cubicBezTo>
                    <a:pt x="74762" y="638"/>
                    <a:pt x="74123" y="0"/>
                    <a:pt x="73484" y="0"/>
                  </a:cubicBezTo>
                  <a:lnTo>
                    <a:pt x="25560" y="0"/>
                  </a:lnTo>
                  <a:cubicBezTo>
                    <a:pt x="21726" y="0"/>
                    <a:pt x="19170" y="2554"/>
                    <a:pt x="19170" y="6384"/>
                  </a:cubicBezTo>
                  <a:cubicBezTo>
                    <a:pt x="19170" y="10214"/>
                    <a:pt x="21726" y="12768"/>
                    <a:pt x="25560" y="12768"/>
                  </a:cubicBezTo>
                  <a:lnTo>
                    <a:pt x="58148" y="12768"/>
                  </a:lnTo>
                  <a:lnTo>
                    <a:pt x="1917" y="68947"/>
                  </a:lnTo>
                  <a:cubicBezTo>
                    <a:pt x="-639" y="71500"/>
                    <a:pt x="-639" y="75331"/>
                    <a:pt x="1917" y="77884"/>
                  </a:cubicBezTo>
                  <a:cubicBezTo>
                    <a:pt x="1917" y="77884"/>
                    <a:pt x="1917" y="77884"/>
                    <a:pt x="1917" y="77884"/>
                  </a:cubicBezTo>
                  <a:cubicBezTo>
                    <a:pt x="3195" y="79161"/>
                    <a:pt x="4473" y="79800"/>
                    <a:pt x="6390" y="79800"/>
                  </a:cubicBezTo>
                  <a:cubicBezTo>
                    <a:pt x="8307" y="79800"/>
                    <a:pt x="9585" y="79161"/>
                    <a:pt x="10863" y="77884"/>
                  </a:cubicBezTo>
                  <a:lnTo>
                    <a:pt x="67094" y="21706"/>
                  </a:lnTo>
                  <a:lnTo>
                    <a:pt x="67094" y="54264"/>
                  </a:lnTo>
                  <a:cubicBezTo>
                    <a:pt x="67094" y="58094"/>
                    <a:pt x="69650" y="60648"/>
                    <a:pt x="73484" y="60648"/>
                  </a:cubicBezTo>
                  <a:cubicBezTo>
                    <a:pt x="77318" y="60648"/>
                    <a:pt x="79874" y="58094"/>
                    <a:pt x="79874" y="54264"/>
                  </a:cubicBezTo>
                  <a:lnTo>
                    <a:pt x="79874" y="5746"/>
                  </a:lnTo>
                  <a:cubicBezTo>
                    <a:pt x="79874" y="5746"/>
                    <a:pt x="79874" y="4469"/>
                    <a:pt x="79235" y="3830"/>
                  </a:cubicBezTo>
                  <a:close/>
                </a:path>
              </a:pathLst>
            </a:custGeom>
            <a:grpFill/>
            <a:ln w="6390" cap="flat">
              <a:solidFill>
                <a:schemeClr val="bg1"/>
              </a:solidFill>
              <a:prstDash val="solid"/>
              <a:miter/>
            </a:ln>
          </p:spPr>
          <p:txBody>
            <a:bodyPr rtlCol="0" anchor="ctr"/>
            <a:lstStyle/>
            <a:p>
              <a:endParaRPr lang="en-US"/>
            </a:p>
          </p:txBody>
        </p:sp>
        <p:sp>
          <p:nvSpPr>
            <p:cNvPr id="99" name="Graphic 4">
              <a:extLst>
                <a:ext uri="{FF2B5EF4-FFF2-40B4-BE49-F238E27FC236}">
                  <a16:creationId xmlns:a16="http://schemas.microsoft.com/office/drawing/2014/main" id="{CFB7B417-C169-5E7B-C310-2E4BC9D007BC}"/>
                </a:ext>
              </a:extLst>
            </p:cNvPr>
            <p:cNvSpPr/>
            <p:nvPr/>
          </p:nvSpPr>
          <p:spPr>
            <a:xfrm>
              <a:off x="668387" y="3056174"/>
              <a:ext cx="79874" cy="79799"/>
            </a:xfrm>
            <a:custGeom>
              <a:avLst/>
              <a:gdLst>
                <a:gd name="connsiteX0" fmla="*/ 21726 w 79874"/>
                <a:gd name="connsiteY0" fmla="*/ 12768 h 79799"/>
                <a:gd name="connsiteX1" fmla="*/ 54314 w 79874"/>
                <a:gd name="connsiteY1" fmla="*/ 12768 h 79799"/>
                <a:gd name="connsiteX2" fmla="*/ 60704 w 79874"/>
                <a:gd name="connsiteY2" fmla="*/ 6384 h 79799"/>
                <a:gd name="connsiteX3" fmla="*/ 54314 w 79874"/>
                <a:gd name="connsiteY3" fmla="*/ 0 h 79799"/>
                <a:gd name="connsiteX4" fmla="*/ 6390 w 79874"/>
                <a:gd name="connsiteY4" fmla="*/ 0 h 79799"/>
                <a:gd name="connsiteX5" fmla="*/ 4473 w 79874"/>
                <a:gd name="connsiteY5" fmla="*/ 638 h 79799"/>
                <a:gd name="connsiteX6" fmla="*/ 3834 w 79874"/>
                <a:gd name="connsiteY6" fmla="*/ 638 h 79799"/>
                <a:gd name="connsiteX7" fmla="*/ 2556 w 79874"/>
                <a:gd name="connsiteY7" fmla="*/ 1277 h 79799"/>
                <a:gd name="connsiteX8" fmla="*/ 1917 w 79874"/>
                <a:gd name="connsiteY8" fmla="*/ 1915 h 79799"/>
                <a:gd name="connsiteX9" fmla="*/ 639 w 79874"/>
                <a:gd name="connsiteY9" fmla="*/ 3830 h 79799"/>
                <a:gd name="connsiteX10" fmla="*/ 639 w 79874"/>
                <a:gd name="connsiteY10" fmla="*/ 3830 h 79799"/>
                <a:gd name="connsiteX11" fmla="*/ 639 w 79874"/>
                <a:gd name="connsiteY11" fmla="*/ 3830 h 79799"/>
                <a:gd name="connsiteX12" fmla="*/ 0 w 79874"/>
                <a:gd name="connsiteY12" fmla="*/ 6384 h 79799"/>
                <a:gd name="connsiteX13" fmla="*/ 0 w 79874"/>
                <a:gd name="connsiteY13" fmla="*/ 6384 h 79799"/>
                <a:gd name="connsiteX14" fmla="*/ 0 w 79874"/>
                <a:gd name="connsiteY14" fmla="*/ 54264 h 79799"/>
                <a:gd name="connsiteX15" fmla="*/ 6390 w 79874"/>
                <a:gd name="connsiteY15" fmla="*/ 60648 h 79799"/>
                <a:gd name="connsiteX16" fmla="*/ 12780 w 79874"/>
                <a:gd name="connsiteY16" fmla="*/ 54264 h 79799"/>
                <a:gd name="connsiteX17" fmla="*/ 12780 w 79874"/>
                <a:gd name="connsiteY17" fmla="*/ 21706 h 79799"/>
                <a:gd name="connsiteX18" fmla="*/ 69011 w 79874"/>
                <a:gd name="connsiteY18" fmla="*/ 77884 h 79799"/>
                <a:gd name="connsiteX19" fmla="*/ 77957 w 79874"/>
                <a:gd name="connsiteY19" fmla="*/ 77884 h 79799"/>
                <a:gd name="connsiteX20" fmla="*/ 77957 w 79874"/>
                <a:gd name="connsiteY20" fmla="*/ 68947 h 79799"/>
                <a:gd name="connsiteX21" fmla="*/ 21726 w 79874"/>
                <a:gd name="connsiteY21" fmla="*/ 12768 h 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9874" h="79799">
                  <a:moveTo>
                    <a:pt x="21726" y="12768"/>
                  </a:moveTo>
                  <a:lnTo>
                    <a:pt x="54314" y="12768"/>
                  </a:lnTo>
                  <a:cubicBezTo>
                    <a:pt x="58148" y="12768"/>
                    <a:pt x="60704" y="10214"/>
                    <a:pt x="60704" y="6384"/>
                  </a:cubicBezTo>
                  <a:cubicBezTo>
                    <a:pt x="60704" y="2554"/>
                    <a:pt x="58148" y="0"/>
                    <a:pt x="54314" y="0"/>
                  </a:cubicBezTo>
                  <a:lnTo>
                    <a:pt x="6390" y="0"/>
                  </a:lnTo>
                  <a:cubicBezTo>
                    <a:pt x="5751" y="0"/>
                    <a:pt x="5112" y="0"/>
                    <a:pt x="4473" y="638"/>
                  </a:cubicBezTo>
                  <a:lnTo>
                    <a:pt x="3834" y="638"/>
                  </a:lnTo>
                  <a:cubicBezTo>
                    <a:pt x="3195" y="638"/>
                    <a:pt x="3195" y="1277"/>
                    <a:pt x="2556" y="1277"/>
                  </a:cubicBezTo>
                  <a:cubicBezTo>
                    <a:pt x="2556" y="1277"/>
                    <a:pt x="1917" y="1277"/>
                    <a:pt x="1917" y="1915"/>
                  </a:cubicBezTo>
                  <a:cubicBezTo>
                    <a:pt x="1278" y="2554"/>
                    <a:pt x="1278" y="3192"/>
                    <a:pt x="639" y="3830"/>
                  </a:cubicBezTo>
                  <a:lnTo>
                    <a:pt x="639" y="3830"/>
                  </a:lnTo>
                  <a:lnTo>
                    <a:pt x="639" y="3830"/>
                  </a:lnTo>
                  <a:cubicBezTo>
                    <a:pt x="639" y="4469"/>
                    <a:pt x="0" y="5107"/>
                    <a:pt x="0" y="6384"/>
                  </a:cubicBezTo>
                  <a:lnTo>
                    <a:pt x="0" y="6384"/>
                  </a:lnTo>
                  <a:lnTo>
                    <a:pt x="0" y="54264"/>
                  </a:lnTo>
                  <a:cubicBezTo>
                    <a:pt x="0" y="58094"/>
                    <a:pt x="2556" y="60648"/>
                    <a:pt x="6390" y="60648"/>
                  </a:cubicBezTo>
                  <a:cubicBezTo>
                    <a:pt x="10224" y="60648"/>
                    <a:pt x="12780" y="58094"/>
                    <a:pt x="12780" y="54264"/>
                  </a:cubicBezTo>
                  <a:lnTo>
                    <a:pt x="12780" y="21706"/>
                  </a:lnTo>
                  <a:lnTo>
                    <a:pt x="69011" y="77884"/>
                  </a:lnTo>
                  <a:cubicBezTo>
                    <a:pt x="71567" y="80438"/>
                    <a:pt x="75401" y="80438"/>
                    <a:pt x="77957" y="77884"/>
                  </a:cubicBezTo>
                  <a:cubicBezTo>
                    <a:pt x="80513" y="75331"/>
                    <a:pt x="80513" y="71500"/>
                    <a:pt x="77957" y="68947"/>
                  </a:cubicBezTo>
                  <a:lnTo>
                    <a:pt x="21726" y="12768"/>
                  </a:lnTo>
                  <a:close/>
                </a:path>
              </a:pathLst>
            </a:custGeom>
            <a:grpFill/>
            <a:ln w="6390" cap="flat">
              <a:solidFill>
                <a:schemeClr val="bg1"/>
              </a:solidFill>
              <a:prstDash val="solid"/>
              <a:miter/>
            </a:ln>
          </p:spPr>
          <p:txBody>
            <a:bodyPr rtlCol="0" anchor="ctr"/>
            <a:lstStyle/>
            <a:p>
              <a:endParaRPr lang="en-US"/>
            </a:p>
          </p:txBody>
        </p:sp>
        <p:sp>
          <p:nvSpPr>
            <p:cNvPr id="100" name="Graphic 4">
              <a:extLst>
                <a:ext uri="{FF2B5EF4-FFF2-40B4-BE49-F238E27FC236}">
                  <a16:creationId xmlns:a16="http://schemas.microsoft.com/office/drawing/2014/main" id="{89A2FB31-07ED-64BB-BAD4-60ADE98CA48D}"/>
                </a:ext>
              </a:extLst>
            </p:cNvPr>
            <p:cNvSpPr/>
            <p:nvPr/>
          </p:nvSpPr>
          <p:spPr>
            <a:xfrm>
              <a:off x="548895" y="2936794"/>
              <a:ext cx="79874" cy="79799"/>
            </a:xfrm>
            <a:custGeom>
              <a:avLst/>
              <a:gdLst>
                <a:gd name="connsiteX0" fmla="*/ 73484 w 79874"/>
                <a:gd name="connsiteY0" fmla="*/ 19152 h 79799"/>
                <a:gd name="connsiteX1" fmla="*/ 67094 w 79874"/>
                <a:gd name="connsiteY1" fmla="*/ 25536 h 79799"/>
                <a:gd name="connsiteX2" fmla="*/ 67094 w 79874"/>
                <a:gd name="connsiteY2" fmla="*/ 58094 h 79799"/>
                <a:gd name="connsiteX3" fmla="*/ 10863 w 79874"/>
                <a:gd name="connsiteY3" fmla="*/ 1915 h 79799"/>
                <a:gd name="connsiteX4" fmla="*/ 1917 w 79874"/>
                <a:gd name="connsiteY4" fmla="*/ 1915 h 79799"/>
                <a:gd name="connsiteX5" fmla="*/ 1917 w 79874"/>
                <a:gd name="connsiteY5" fmla="*/ 1915 h 79799"/>
                <a:gd name="connsiteX6" fmla="*/ 1917 w 79874"/>
                <a:gd name="connsiteY6" fmla="*/ 10853 h 79799"/>
                <a:gd name="connsiteX7" fmla="*/ 58148 w 79874"/>
                <a:gd name="connsiteY7" fmla="*/ 67032 h 79799"/>
                <a:gd name="connsiteX8" fmla="*/ 25560 w 79874"/>
                <a:gd name="connsiteY8" fmla="*/ 67032 h 79799"/>
                <a:gd name="connsiteX9" fmla="*/ 19170 w 79874"/>
                <a:gd name="connsiteY9" fmla="*/ 73416 h 79799"/>
                <a:gd name="connsiteX10" fmla="*/ 25560 w 79874"/>
                <a:gd name="connsiteY10" fmla="*/ 79800 h 79799"/>
                <a:gd name="connsiteX11" fmla="*/ 73484 w 79874"/>
                <a:gd name="connsiteY11" fmla="*/ 79800 h 79799"/>
                <a:gd name="connsiteX12" fmla="*/ 76040 w 79874"/>
                <a:gd name="connsiteY12" fmla="*/ 79161 h 79799"/>
                <a:gd name="connsiteX13" fmla="*/ 76040 w 79874"/>
                <a:gd name="connsiteY13" fmla="*/ 79161 h 79799"/>
                <a:gd name="connsiteX14" fmla="*/ 76040 w 79874"/>
                <a:gd name="connsiteY14" fmla="*/ 79161 h 79799"/>
                <a:gd name="connsiteX15" fmla="*/ 77957 w 79874"/>
                <a:gd name="connsiteY15" fmla="*/ 77885 h 79799"/>
                <a:gd name="connsiteX16" fmla="*/ 78596 w 79874"/>
                <a:gd name="connsiteY16" fmla="*/ 77246 h 79799"/>
                <a:gd name="connsiteX17" fmla="*/ 79235 w 79874"/>
                <a:gd name="connsiteY17" fmla="*/ 75969 h 79799"/>
                <a:gd name="connsiteX18" fmla="*/ 79235 w 79874"/>
                <a:gd name="connsiteY18" fmla="*/ 75331 h 79799"/>
                <a:gd name="connsiteX19" fmla="*/ 79874 w 79874"/>
                <a:gd name="connsiteY19" fmla="*/ 72777 h 79799"/>
                <a:gd name="connsiteX20" fmla="*/ 79874 w 79874"/>
                <a:gd name="connsiteY20" fmla="*/ 24897 h 79799"/>
                <a:gd name="connsiteX21" fmla="*/ 73484 w 79874"/>
                <a:gd name="connsiteY21" fmla="*/ 19152 h 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9874" h="79799">
                  <a:moveTo>
                    <a:pt x="73484" y="19152"/>
                  </a:moveTo>
                  <a:cubicBezTo>
                    <a:pt x="69650" y="19152"/>
                    <a:pt x="67094" y="21706"/>
                    <a:pt x="67094" y="25536"/>
                  </a:cubicBezTo>
                  <a:lnTo>
                    <a:pt x="67094" y="58094"/>
                  </a:lnTo>
                  <a:lnTo>
                    <a:pt x="10863" y="1915"/>
                  </a:lnTo>
                  <a:cubicBezTo>
                    <a:pt x="8307" y="-638"/>
                    <a:pt x="4473" y="-638"/>
                    <a:pt x="1917" y="1915"/>
                  </a:cubicBezTo>
                  <a:cubicBezTo>
                    <a:pt x="1917" y="1915"/>
                    <a:pt x="1917" y="1915"/>
                    <a:pt x="1917" y="1915"/>
                  </a:cubicBezTo>
                  <a:cubicBezTo>
                    <a:pt x="-639" y="4469"/>
                    <a:pt x="-639" y="8299"/>
                    <a:pt x="1917" y="10853"/>
                  </a:cubicBezTo>
                  <a:lnTo>
                    <a:pt x="58148" y="67032"/>
                  </a:lnTo>
                  <a:lnTo>
                    <a:pt x="25560" y="67032"/>
                  </a:lnTo>
                  <a:cubicBezTo>
                    <a:pt x="21726" y="67032"/>
                    <a:pt x="19170" y="69585"/>
                    <a:pt x="19170" y="73416"/>
                  </a:cubicBezTo>
                  <a:cubicBezTo>
                    <a:pt x="19170" y="77246"/>
                    <a:pt x="21726" y="79800"/>
                    <a:pt x="25560" y="79800"/>
                  </a:cubicBezTo>
                  <a:lnTo>
                    <a:pt x="73484" y="79800"/>
                  </a:lnTo>
                  <a:cubicBezTo>
                    <a:pt x="74123" y="79800"/>
                    <a:pt x="75401" y="79800"/>
                    <a:pt x="76040" y="79161"/>
                  </a:cubicBezTo>
                  <a:lnTo>
                    <a:pt x="76040" y="79161"/>
                  </a:lnTo>
                  <a:lnTo>
                    <a:pt x="76040" y="79161"/>
                  </a:lnTo>
                  <a:cubicBezTo>
                    <a:pt x="76679" y="79161"/>
                    <a:pt x="77318" y="78523"/>
                    <a:pt x="77957" y="77885"/>
                  </a:cubicBezTo>
                  <a:lnTo>
                    <a:pt x="78596" y="77246"/>
                  </a:lnTo>
                  <a:cubicBezTo>
                    <a:pt x="79235" y="76608"/>
                    <a:pt x="79235" y="76608"/>
                    <a:pt x="79235" y="75969"/>
                  </a:cubicBezTo>
                  <a:cubicBezTo>
                    <a:pt x="79235" y="75969"/>
                    <a:pt x="79235" y="75331"/>
                    <a:pt x="79235" y="75331"/>
                  </a:cubicBezTo>
                  <a:cubicBezTo>
                    <a:pt x="79235" y="74693"/>
                    <a:pt x="79874" y="74054"/>
                    <a:pt x="79874" y="72777"/>
                  </a:cubicBezTo>
                  <a:lnTo>
                    <a:pt x="79874" y="24897"/>
                  </a:lnTo>
                  <a:cubicBezTo>
                    <a:pt x="79235" y="22344"/>
                    <a:pt x="76679" y="19152"/>
                    <a:pt x="73484" y="19152"/>
                  </a:cubicBezTo>
                  <a:close/>
                </a:path>
              </a:pathLst>
            </a:custGeom>
            <a:grpFill/>
            <a:ln w="6390" cap="flat">
              <a:solidFill>
                <a:schemeClr val="bg1"/>
              </a:solidFill>
              <a:prstDash val="solid"/>
              <a:miter/>
            </a:ln>
          </p:spPr>
          <p:txBody>
            <a:bodyPr rtlCol="0" anchor="ctr"/>
            <a:lstStyle/>
            <a:p>
              <a:endParaRPr lang="en-US"/>
            </a:p>
          </p:txBody>
        </p:sp>
      </p:grpSp>
      <p:sp>
        <p:nvSpPr>
          <p:cNvPr id="102" name="TextBox 101">
            <a:extLst>
              <a:ext uri="{FF2B5EF4-FFF2-40B4-BE49-F238E27FC236}">
                <a16:creationId xmlns:a16="http://schemas.microsoft.com/office/drawing/2014/main" id="{31BB312D-0586-B5BB-555F-F4CF47D0275E}"/>
              </a:ext>
            </a:extLst>
          </p:cNvPr>
          <p:cNvSpPr txBox="1"/>
          <p:nvPr/>
        </p:nvSpPr>
        <p:spPr>
          <a:xfrm>
            <a:off x="423374" y="766006"/>
            <a:ext cx="8924073" cy="307777"/>
          </a:xfrm>
          <a:prstGeom prst="rect">
            <a:avLst/>
          </a:prstGeom>
          <a:noFill/>
        </p:spPr>
        <p:txBody>
          <a:bodyPr wrap="square">
            <a:spAutoFit/>
          </a:bodyPr>
          <a:lstStyle/>
          <a:p>
            <a:r>
              <a:rPr lang="en-US" sz="1400" dirty="0"/>
              <a:t>Over the years, development partners have played a pivotal role in Liberia’s energy sector:</a:t>
            </a:r>
          </a:p>
        </p:txBody>
      </p:sp>
      <p:sp>
        <p:nvSpPr>
          <p:cNvPr id="104" name="TextBox 103">
            <a:extLst>
              <a:ext uri="{FF2B5EF4-FFF2-40B4-BE49-F238E27FC236}">
                <a16:creationId xmlns:a16="http://schemas.microsoft.com/office/drawing/2014/main" id="{A66E7309-D47B-595D-64D6-7125A313B06A}"/>
              </a:ext>
            </a:extLst>
          </p:cNvPr>
          <p:cNvSpPr txBox="1"/>
          <p:nvPr/>
        </p:nvSpPr>
        <p:spPr>
          <a:xfrm>
            <a:off x="581911" y="5820052"/>
            <a:ext cx="11013174" cy="523220"/>
          </a:xfrm>
          <a:prstGeom prst="rect">
            <a:avLst/>
          </a:prstGeom>
          <a:solidFill>
            <a:schemeClr val="accent1"/>
          </a:solidFill>
          <a:ln>
            <a:solidFill>
              <a:schemeClr val="bg1"/>
            </a:solidFill>
          </a:ln>
          <a:effectLst>
            <a:outerShdw blurRad="50800" dist="38100" dir="8100000" algn="tr" rotWithShape="0">
              <a:prstClr val="black">
                <a:alpha val="40000"/>
              </a:prstClr>
            </a:outerShdw>
          </a:effectLst>
        </p:spPr>
        <p:txBody>
          <a:bodyPr wrap="square">
            <a:spAutoFit/>
          </a:bodyPr>
          <a:lstStyle/>
          <a:p>
            <a:r>
              <a:rPr lang="en-US" sz="1400" dirty="0">
                <a:solidFill>
                  <a:schemeClr val="bg1"/>
                </a:solidFill>
              </a:rPr>
              <a:t>These international agencies have contributed to Liberia's energy sector development through funding, technical assistance, and capacity-building programs, helping to address energy access, renewable energy, and energy infrastructure challenges. </a:t>
            </a:r>
          </a:p>
        </p:txBody>
      </p:sp>
    </p:spTree>
    <p:extLst>
      <p:ext uri="{BB962C8B-B14F-4D97-AF65-F5344CB8AC3E}">
        <p14:creationId xmlns:p14="http://schemas.microsoft.com/office/powerpoint/2010/main" val="25491888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Employee using laptop in office">
            <a:extLst>
              <a:ext uri="{FF2B5EF4-FFF2-40B4-BE49-F238E27FC236}">
                <a16:creationId xmlns:a16="http://schemas.microsoft.com/office/drawing/2014/main" id="{D5E44962-49CE-4DC5-A317-1F23F929BFC4}"/>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240" y="135"/>
            <a:ext cx="12189278" cy="6857730"/>
          </a:xfrm>
          <a:prstGeom prst="rect">
            <a:avLst/>
          </a:prstGeom>
        </p:spPr>
      </p:pic>
      <p:grpSp>
        <p:nvGrpSpPr>
          <p:cNvPr id="3" name="Group 2">
            <a:extLst>
              <a:ext uri="{FF2B5EF4-FFF2-40B4-BE49-F238E27FC236}">
                <a16:creationId xmlns:a16="http://schemas.microsoft.com/office/drawing/2014/main" id="{A2633686-B252-4117-B71D-82F282D8A58A}"/>
              </a:ext>
            </a:extLst>
          </p:cNvPr>
          <p:cNvGrpSpPr/>
          <p:nvPr/>
        </p:nvGrpSpPr>
        <p:grpSpPr>
          <a:xfrm rot="10800000">
            <a:off x="557169" y="2323428"/>
            <a:ext cx="3811375" cy="4058207"/>
            <a:chOff x="469900" y="457199"/>
            <a:chExt cx="3024224" cy="3478335"/>
          </a:xfrm>
        </p:grpSpPr>
        <p:sp>
          <p:nvSpPr>
            <p:cNvPr id="7" name="Text Placeholder 5">
              <a:extLst>
                <a:ext uri="{FF2B5EF4-FFF2-40B4-BE49-F238E27FC236}">
                  <a16:creationId xmlns:a16="http://schemas.microsoft.com/office/drawing/2014/main" id="{830C464B-2C34-0A45-9F93-AFD72C96F3EA}"/>
                </a:ext>
              </a:extLst>
            </p:cNvPr>
            <p:cNvSpPr txBox="1">
              <a:spLocks/>
            </p:cNvSpPr>
            <p:nvPr>
              <p:custDataLst>
                <p:tags r:id="rId1"/>
              </p:custDataLst>
            </p:nvPr>
          </p:nvSpPr>
          <p:spPr>
            <a:xfrm rot="5400000">
              <a:off x="242844" y="684255"/>
              <a:ext cx="3478335" cy="3024224"/>
            </a:xfrm>
            <a:prstGeom prst="homePlate">
              <a:avLst>
                <a:gd name="adj" fmla="val 26427"/>
              </a:avLst>
            </a:prstGeom>
            <a:solidFill>
              <a:schemeClr val="tx1">
                <a:alpha val="42000"/>
              </a:schemeClr>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endParaRPr kumimoji="0" lang="en-US" sz="1100" b="1" i="0" u="none" strike="noStrike" kern="1200" cap="none" spc="0" normalizeH="0" baseline="0" noProof="0" dirty="0">
                <a:ln>
                  <a:noFill/>
                </a:ln>
                <a:solidFill>
                  <a:srgbClr val="FFFFFF"/>
                </a:solidFill>
                <a:effectLst/>
                <a:uLnTx/>
                <a:uFillTx/>
                <a:latin typeface="Calibri Light"/>
                <a:ea typeface="+mj-ea"/>
                <a:cs typeface="+mj-cs"/>
              </a:endParaRPr>
            </a:p>
          </p:txBody>
        </p:sp>
        <p:sp>
          <p:nvSpPr>
            <p:cNvPr id="8" name="Text Placeholder 5">
              <a:extLst>
                <a:ext uri="{FF2B5EF4-FFF2-40B4-BE49-F238E27FC236}">
                  <a16:creationId xmlns:a16="http://schemas.microsoft.com/office/drawing/2014/main" id="{095FC11C-AA67-3A43-8D6D-568D9091AAD2}"/>
                </a:ext>
              </a:extLst>
            </p:cNvPr>
            <p:cNvSpPr txBox="1">
              <a:spLocks noChangeAspect="1"/>
            </p:cNvSpPr>
            <p:nvPr>
              <p:custDataLst>
                <p:tags r:id="rId2"/>
              </p:custDataLst>
            </p:nvPr>
          </p:nvSpPr>
          <p:spPr>
            <a:xfrm rot="5400000">
              <a:off x="456444" y="847080"/>
              <a:ext cx="3051138" cy="2652803"/>
            </a:xfrm>
            <a:prstGeom prst="homePlate">
              <a:avLst>
                <a:gd name="adj" fmla="val 26427"/>
              </a:avLst>
            </a:prstGeom>
            <a:solidFill>
              <a:schemeClr val="accent2"/>
            </a:solidFill>
            <a:ln w="12700">
              <a:solidFill>
                <a:schemeClr val="bg1"/>
              </a:solidFill>
            </a:ln>
          </p:spPr>
          <p:txBody>
            <a:bodyPr wrap="square" lIns="91436" tIns="35998" rIns="35998" bIns="35998"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l" defTabSz="957195" rtl="0" eaLnBrk="1" fontAlgn="base" latinLnBrk="0" hangingPunct="1">
                <a:lnSpc>
                  <a:spcPct val="100000"/>
                </a:lnSpc>
                <a:spcBef>
                  <a:spcPts val="600"/>
                </a:spcBef>
                <a:spcAft>
                  <a:spcPts val="0"/>
                </a:spcAft>
                <a:buClrTx/>
                <a:buSzTx/>
                <a:buFont typeface="Arial" charset="0"/>
                <a:buNone/>
                <a:tabLst/>
                <a:defRPr/>
              </a:pPr>
              <a:r>
                <a:rPr kumimoji="0" lang="en-US" sz="1100" b="1" i="0" u="none" strike="noStrike" kern="1200" cap="none" spc="0" normalizeH="0" baseline="0" noProof="0" dirty="0">
                  <a:ln>
                    <a:noFill/>
                  </a:ln>
                  <a:solidFill>
                    <a:srgbClr val="FFFFFF"/>
                  </a:solidFill>
                  <a:effectLst/>
                  <a:uLnTx/>
                  <a:uFillTx/>
                  <a:latin typeface="Calibri Light"/>
                  <a:ea typeface="+mj-ea"/>
                  <a:cs typeface="+mj-cs"/>
                </a:rPr>
                <a:t>  </a:t>
              </a:r>
            </a:p>
          </p:txBody>
        </p:sp>
      </p:grpSp>
      <p:sp>
        <p:nvSpPr>
          <p:cNvPr id="12" name="TextBox 11">
            <a:extLst>
              <a:ext uri="{FF2B5EF4-FFF2-40B4-BE49-F238E27FC236}">
                <a16:creationId xmlns:a16="http://schemas.microsoft.com/office/drawing/2014/main" id="{A90E5C25-09D2-4942-83F8-411A329AD38B}"/>
              </a:ext>
            </a:extLst>
          </p:cNvPr>
          <p:cNvSpPr txBox="1"/>
          <p:nvPr/>
        </p:nvSpPr>
        <p:spPr>
          <a:xfrm>
            <a:off x="1105385" y="3871427"/>
            <a:ext cx="2714937" cy="1477328"/>
          </a:xfrm>
          <a:prstGeom prst="rect">
            <a:avLst/>
          </a:prstGeom>
          <a:noFill/>
        </p:spPr>
        <p:txBody>
          <a:bodyPr wrap="square" lIns="0" tIns="0" rIns="0" bIns="0" rtlCol="0">
            <a:spAutoFit/>
          </a:bodyPr>
          <a:lstStyle/>
          <a:p>
            <a:pPr marL="0" marR="0" lvl="0" indent="0" algn="ctr" defTabSz="914335" rtl="0" eaLnBrk="1" fontAlgn="auto" latinLnBrk="0" hangingPunct="1">
              <a:lnSpc>
                <a:spcPct val="100000"/>
              </a:lnSpc>
              <a:spcBef>
                <a:spcPts val="600"/>
              </a:spcBef>
              <a:spcAft>
                <a:spcPts val="0"/>
              </a:spcAft>
              <a:buClrTx/>
              <a:buSzPct val="100000"/>
              <a:buFontTx/>
              <a:buNone/>
              <a:tabLst/>
              <a:defRPr/>
            </a:pPr>
            <a:r>
              <a:rPr lang="en-US" sz="3200" b="1" dirty="0">
                <a:solidFill>
                  <a:prstClr val="white"/>
                </a:solidFill>
                <a:latin typeface="Calibri Light" panose="020F0302020204030204" pitchFamily="34" charset="0"/>
                <a:cs typeface="Calibri Light" panose="020F0302020204030204" pitchFamily="34" charset="0"/>
              </a:rPr>
              <a:t>Why the Private Sector Needs to Invest</a:t>
            </a:r>
            <a:endParaRPr kumimoji="0" lang="en-US" sz="3200" b="1" i="0" u="none" strike="noStrike" kern="1200" cap="none" spc="0" normalizeH="0" baseline="0" noProof="0" dirty="0">
              <a:ln>
                <a:noFill/>
              </a:ln>
              <a:solidFill>
                <a:prstClr val="white"/>
              </a:solidFill>
              <a:effectLst/>
              <a:uLnTx/>
              <a:uFillTx/>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82450700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8207245-51CF-4E4F-847C-D768EE10210B}"/>
              </a:ext>
            </a:extLst>
          </p:cNvPr>
          <p:cNvSpPr>
            <a:spLocks noGrp="1"/>
          </p:cNvSpPr>
          <p:nvPr>
            <p:ph type="title"/>
          </p:nvPr>
        </p:nvSpPr>
        <p:spPr>
          <a:xfrm>
            <a:off x="501651" y="317501"/>
            <a:ext cx="11162349" cy="247984"/>
          </a:xfrm>
        </p:spPr>
        <p:txBody>
          <a:bodyPr/>
          <a:lstStyle/>
          <a:p>
            <a:r>
              <a:rPr lang="en-US" b="1" dirty="0"/>
              <a:t>Why the Private Sector Needs to Invest</a:t>
            </a:r>
          </a:p>
        </p:txBody>
      </p:sp>
      <p:sp>
        <p:nvSpPr>
          <p:cNvPr id="2" name="Text Placeholder 4">
            <a:extLst>
              <a:ext uri="{FF2B5EF4-FFF2-40B4-BE49-F238E27FC236}">
                <a16:creationId xmlns:a16="http://schemas.microsoft.com/office/drawing/2014/main" id="{148CE5B7-E85D-5BC9-F461-55B4860F11C0}"/>
              </a:ext>
            </a:extLst>
          </p:cNvPr>
          <p:cNvSpPr txBox="1">
            <a:spLocks/>
          </p:cNvSpPr>
          <p:nvPr/>
        </p:nvSpPr>
        <p:spPr>
          <a:xfrm>
            <a:off x="514825" y="753199"/>
            <a:ext cx="11162349" cy="1725727"/>
          </a:xfrm>
          <a:prstGeom prst="rect">
            <a:avLst/>
          </a:prstGeom>
          <a:solidFill>
            <a:schemeClr val="accent5"/>
          </a:solidFill>
        </p:spPr>
        <p:txBody>
          <a:bodyPr wrap="square" lIns="182879" tIns="182879" rIns="182879" bIns="182879">
            <a:spAutoFit/>
          </a:bodyPr>
          <a:lstStyle>
            <a:lvl1pPr marL="0" indent="0" algn="l" defTabSz="986912" rtl="0" eaLnBrk="1" latinLnBrk="0" hangingPunct="1">
              <a:lnSpc>
                <a:spcPts val="1200"/>
              </a:lnSpc>
              <a:spcBef>
                <a:spcPts val="0"/>
              </a:spcBef>
              <a:spcAft>
                <a:spcPts val="0"/>
              </a:spcAft>
              <a:buSzPct val="100000"/>
              <a:buFont typeface="Arial" panose="020B0604020202020204" pitchFamily="34" charset="0"/>
              <a:buNone/>
              <a:defRPr sz="850" b="0" kern="1200">
                <a:solidFill>
                  <a:schemeClr val="tx1"/>
                </a:solidFill>
                <a:latin typeface="+mn-lt"/>
                <a:ea typeface="Open Sans" panose="020B0606030504020204" pitchFamily="34" charset="0"/>
                <a:cs typeface="Open Sans" panose="020B0606030504020204" pitchFamily="34" charset="0"/>
              </a:defRPr>
            </a:lvl1pPr>
            <a:lvl2pPr marL="0" indent="0" algn="l" defTabSz="986912" rtl="0" eaLnBrk="1" latinLnBrk="0" hangingPunct="1">
              <a:lnSpc>
                <a:spcPts val="1200"/>
              </a:lnSpc>
              <a:spcBef>
                <a:spcPts val="0"/>
              </a:spcBef>
              <a:spcAft>
                <a:spcPts val="0"/>
              </a:spcAft>
              <a:buClrTx/>
              <a:buSzPct val="100000"/>
              <a:buFont typeface="Arial"/>
              <a:buNone/>
              <a:defRPr lang="en-US" sz="850" b="0" kern="1200" dirty="0" smtClean="0">
                <a:solidFill>
                  <a:schemeClr val="tx1"/>
                </a:solidFill>
                <a:latin typeface="Open Sans bold" panose="020B0806030504020204" pitchFamily="34" charset="0"/>
                <a:ea typeface="Open Sans bold" panose="020B0806030504020204" pitchFamily="34" charset="0"/>
                <a:cs typeface="Open Sans bold" panose="020B0806030504020204" pitchFamily="34" charset="0"/>
              </a:defRPr>
            </a:lvl2pPr>
            <a:lvl3pPr marL="0" indent="0" algn="l" defTabSz="986912" rtl="0" eaLnBrk="1" latinLnBrk="0" hangingPunct="1">
              <a:lnSpc>
                <a:spcPts val="1800"/>
              </a:lnSpc>
              <a:spcBef>
                <a:spcPts val="0"/>
              </a:spcBef>
              <a:spcAft>
                <a:spcPts val="0"/>
              </a:spcAft>
              <a:buClrTx/>
              <a:buSzPct val="100000"/>
              <a:buFontTx/>
              <a:buNone/>
              <a:defRPr lang="en-US" sz="1400" kern="1200" dirty="0" smtClean="0">
                <a:solidFill>
                  <a:schemeClr val="tx1"/>
                </a:solidFill>
                <a:latin typeface="+mn-lt"/>
                <a:ea typeface="Open Sans" panose="020B0606030504020204" pitchFamily="34" charset="0"/>
                <a:cs typeface="Open Sans" panose="020B0606030504020204" pitchFamily="34" charset="0"/>
              </a:defRPr>
            </a:lvl3pPr>
            <a:lvl4pPr marL="91440" indent="-90000" algn="l" defTabSz="986912" rtl="0" eaLnBrk="1" latinLnBrk="0" hangingPunct="1">
              <a:lnSpc>
                <a:spcPts val="1200"/>
              </a:lnSpc>
              <a:spcBef>
                <a:spcPts val="0"/>
              </a:spcBef>
              <a:spcAft>
                <a:spcPts val="600"/>
              </a:spcAft>
              <a:buClrTx/>
              <a:buSzPct val="100000"/>
              <a:buFont typeface="Arial" panose="020B0604020202020204" pitchFamily="34" charset="0"/>
              <a:buChar char="•"/>
              <a:defRPr lang="en-US" sz="850" kern="1200" baseline="0" dirty="0" smtClean="0">
                <a:solidFill>
                  <a:schemeClr val="tx1"/>
                </a:solidFill>
                <a:latin typeface="+mn-lt"/>
                <a:ea typeface="Open Sans" panose="020B0606030504020204" pitchFamily="34" charset="0"/>
                <a:cs typeface="Open Sans" panose="020B0606030504020204" pitchFamily="34" charset="0"/>
              </a:defRPr>
            </a:lvl4pPr>
            <a:lvl5pPr marL="180000" indent="-90000" algn="l" defTabSz="861835" rtl="0" eaLnBrk="1" latinLnBrk="0" hangingPunct="1">
              <a:lnSpc>
                <a:spcPts val="1200"/>
              </a:lnSpc>
              <a:spcBef>
                <a:spcPts val="0"/>
              </a:spcBef>
              <a:spcAft>
                <a:spcPts val="600"/>
              </a:spcAft>
              <a:buClrTx/>
              <a:buSzPct val="100000"/>
              <a:buFont typeface="Verdana" panose="020B0604030504040204" pitchFamily="34" charset="0"/>
              <a:buChar char="–"/>
              <a:tabLst/>
              <a:defRPr lang="en-US" sz="850" kern="1200" baseline="0" dirty="0" smtClean="0">
                <a:solidFill>
                  <a:schemeClr val="tx1"/>
                </a:solidFill>
                <a:latin typeface="+mn-lt"/>
                <a:ea typeface="Open Sans" panose="020B0606030504020204" pitchFamily="34" charset="0"/>
                <a:cs typeface="Open Sans" panose="020B0606030504020204" pitchFamily="34" charset="0"/>
              </a:defRPr>
            </a:lvl5pPr>
            <a:lvl6pPr marL="575051" indent="-190389" algn="l" defTabSz="986912" rtl="0" eaLnBrk="1" latinLnBrk="0" hangingPunct="1">
              <a:spcBef>
                <a:spcPts val="0"/>
              </a:spcBef>
              <a:spcAft>
                <a:spcPts val="1079"/>
              </a:spcAft>
              <a:buFont typeface="Verdana" panose="020B0604030504040204" pitchFamily="34" charset="0"/>
              <a:buChar char="−"/>
              <a:defRPr sz="1295" kern="1200" baseline="0">
                <a:solidFill>
                  <a:schemeClr val="tx1"/>
                </a:solidFill>
                <a:latin typeface="+mn-lt"/>
                <a:ea typeface="+mn-ea"/>
                <a:cs typeface="+mn-cs"/>
              </a:defRPr>
            </a:lvl6pPr>
            <a:lvl7pPr marL="575051" indent="-190389" algn="l" defTabSz="986912" rtl="0" eaLnBrk="1" latinLnBrk="0" hangingPunct="1">
              <a:spcBef>
                <a:spcPts val="0"/>
              </a:spcBef>
              <a:spcAft>
                <a:spcPts val="1079"/>
              </a:spcAft>
              <a:buFont typeface="Verdana" panose="020B0604030504040204" pitchFamily="34" charset="0"/>
              <a:buChar char="−"/>
              <a:defRPr sz="1295" kern="1200">
                <a:solidFill>
                  <a:schemeClr val="tx1"/>
                </a:solidFill>
                <a:latin typeface="+mn-lt"/>
                <a:ea typeface="+mn-ea"/>
                <a:cs typeface="+mn-cs"/>
              </a:defRPr>
            </a:lvl7pPr>
            <a:lvl8pPr marL="575051" indent="-190389" algn="l" defTabSz="986912" rtl="0" eaLnBrk="1" latinLnBrk="0" hangingPunct="1">
              <a:spcBef>
                <a:spcPts val="0"/>
              </a:spcBef>
              <a:spcAft>
                <a:spcPts val="1079"/>
              </a:spcAft>
              <a:buFont typeface="Verdana" panose="020B0604030504040204" pitchFamily="34" charset="0"/>
              <a:buChar char="−"/>
              <a:defRPr sz="1295" kern="1200" baseline="0">
                <a:solidFill>
                  <a:schemeClr val="tx1"/>
                </a:solidFill>
                <a:latin typeface="+mn-lt"/>
                <a:ea typeface="+mn-ea"/>
                <a:cs typeface="+mn-cs"/>
              </a:defRPr>
            </a:lvl8pPr>
            <a:lvl9pPr marL="575051" indent="-190389" algn="l" defTabSz="986912" rtl="0" eaLnBrk="1" latinLnBrk="0" hangingPunct="1">
              <a:spcBef>
                <a:spcPts val="0"/>
              </a:spcBef>
              <a:spcAft>
                <a:spcPts val="1079"/>
              </a:spcAft>
              <a:buFont typeface="Verdana" panose="020B0604030504040204" pitchFamily="34" charset="0"/>
              <a:buChar char="−"/>
              <a:defRPr sz="1295" kern="1200" baseline="0">
                <a:solidFill>
                  <a:schemeClr val="tx1"/>
                </a:solidFill>
                <a:latin typeface="+mn-lt"/>
                <a:ea typeface="+mn-ea"/>
                <a:cs typeface="+mn-cs"/>
              </a:defRPr>
            </a:lvl9pPr>
          </a:lstStyle>
          <a:p>
            <a:pPr algn="just" defTabSz="986998">
              <a:lnSpc>
                <a:spcPct val="150000"/>
              </a:lnSpc>
              <a:defRPr/>
            </a:pPr>
            <a:r>
              <a:rPr lang="en-US" sz="1200" dirty="0">
                <a:solidFill>
                  <a:schemeClr val="bg1"/>
                </a:solidFill>
                <a:latin typeface="Calibri Light" panose="020F0302020204030204" pitchFamily="34" charset="0"/>
                <a:ea typeface="+mn-ea"/>
                <a:cs typeface="Calibri Light" panose="020F0302020204030204" pitchFamily="34" charset="0"/>
              </a:rPr>
              <a:t>The government of Liberia, alongside its development partners, has laid the groundwork for progress, while international agencies are indeed playing a crucial role in supporting Liberia's energy sector. Despite these contributions, the journey towards a robust energy sector in Liberia is far from complete. The private sector’s involvement is crucial to bridging the gap between current capabilities and future needs. It is imperative for private investors to step in, leveraging the foundation laid by development partners to create a resilient and dynamic energy sector. The magnitude of the challenge calls for robust private sector participation. The private sector contributions are still essential for several reasons: </a:t>
            </a:r>
            <a:endParaRPr lang="en-GB" sz="1200" dirty="0">
              <a:solidFill>
                <a:schemeClr val="bg1"/>
              </a:solidFill>
              <a:latin typeface="Calibri Light" panose="020F0302020204030204" pitchFamily="34" charset="0"/>
              <a:ea typeface="+mn-ea"/>
              <a:cs typeface="Calibri Light" panose="020F0302020204030204" pitchFamily="34" charset="0"/>
            </a:endParaRPr>
          </a:p>
        </p:txBody>
      </p:sp>
      <p:grpSp>
        <p:nvGrpSpPr>
          <p:cNvPr id="67" name="Group 66">
            <a:extLst>
              <a:ext uri="{FF2B5EF4-FFF2-40B4-BE49-F238E27FC236}">
                <a16:creationId xmlns:a16="http://schemas.microsoft.com/office/drawing/2014/main" id="{21062555-4B09-7AE3-5901-58B48066ADA6}"/>
              </a:ext>
            </a:extLst>
          </p:cNvPr>
          <p:cNvGrpSpPr/>
          <p:nvPr/>
        </p:nvGrpSpPr>
        <p:grpSpPr>
          <a:xfrm>
            <a:off x="1395534" y="2622684"/>
            <a:ext cx="9642232" cy="3854316"/>
            <a:chOff x="808054" y="2101515"/>
            <a:chExt cx="10650695" cy="4294503"/>
          </a:xfrm>
        </p:grpSpPr>
        <p:sp>
          <p:nvSpPr>
            <p:cNvPr id="29" name="Freeform 43">
              <a:extLst>
                <a:ext uri="{FF2B5EF4-FFF2-40B4-BE49-F238E27FC236}">
                  <a16:creationId xmlns:a16="http://schemas.microsoft.com/office/drawing/2014/main" id="{5A23452C-0A1E-346B-222C-67C8B4F056A9}"/>
                </a:ext>
              </a:extLst>
            </p:cNvPr>
            <p:cNvSpPr/>
            <p:nvPr/>
          </p:nvSpPr>
          <p:spPr bwMode="gray">
            <a:xfrm>
              <a:off x="7247287" y="4205032"/>
              <a:ext cx="1837642" cy="89857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CB0"/>
                </a:solidFill>
                <a:effectLst/>
                <a:uLnTx/>
                <a:uFillTx/>
                <a:latin typeface="Calibri Light"/>
                <a:ea typeface="+mn-ea"/>
                <a:cs typeface="+mn-cs"/>
              </a:endParaRPr>
            </a:p>
          </p:txBody>
        </p:sp>
        <p:sp>
          <p:nvSpPr>
            <p:cNvPr id="30" name="Freeform 44">
              <a:extLst>
                <a:ext uri="{FF2B5EF4-FFF2-40B4-BE49-F238E27FC236}">
                  <a16:creationId xmlns:a16="http://schemas.microsoft.com/office/drawing/2014/main" id="{E6201C1B-B169-C115-61C4-C0CD8E91A7F4}"/>
                </a:ext>
              </a:extLst>
            </p:cNvPr>
            <p:cNvSpPr/>
            <p:nvPr/>
          </p:nvSpPr>
          <p:spPr bwMode="gray">
            <a:xfrm rot="16200000">
              <a:off x="4482721" y="3745125"/>
              <a:ext cx="528931" cy="3090886"/>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CB0"/>
                </a:solidFill>
                <a:effectLst/>
                <a:uLnTx/>
                <a:uFillTx/>
                <a:latin typeface="Calibri Light"/>
                <a:ea typeface="+mn-ea"/>
                <a:cs typeface="+mn-cs"/>
              </a:endParaRPr>
            </a:p>
          </p:txBody>
        </p:sp>
        <p:sp>
          <p:nvSpPr>
            <p:cNvPr id="31" name="Freeform 42">
              <a:extLst>
                <a:ext uri="{FF2B5EF4-FFF2-40B4-BE49-F238E27FC236}">
                  <a16:creationId xmlns:a16="http://schemas.microsoft.com/office/drawing/2014/main" id="{E96262F9-2D2A-7810-719B-FEC2F2F5A55C}"/>
                </a:ext>
              </a:extLst>
            </p:cNvPr>
            <p:cNvSpPr/>
            <p:nvPr/>
          </p:nvSpPr>
          <p:spPr bwMode="gray">
            <a:xfrm>
              <a:off x="2864867" y="2279325"/>
              <a:ext cx="2359372"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CB0"/>
                </a:solidFill>
                <a:effectLst/>
                <a:uLnTx/>
                <a:uFillTx/>
                <a:latin typeface="Calibri Light"/>
                <a:ea typeface="+mn-ea"/>
                <a:cs typeface="+mn-cs"/>
              </a:endParaRPr>
            </a:p>
          </p:txBody>
        </p:sp>
        <p:sp>
          <p:nvSpPr>
            <p:cNvPr id="32" name="Oval 155">
              <a:extLst>
                <a:ext uri="{FF2B5EF4-FFF2-40B4-BE49-F238E27FC236}">
                  <a16:creationId xmlns:a16="http://schemas.microsoft.com/office/drawing/2014/main" id="{5716A241-2E64-EE2C-612D-6A4E49A92CA3}"/>
                </a:ext>
              </a:extLst>
            </p:cNvPr>
            <p:cNvSpPr/>
            <p:nvPr/>
          </p:nvSpPr>
          <p:spPr>
            <a:xfrm rot="2700000">
              <a:off x="5629978" y="2080807"/>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Light"/>
                <a:ea typeface="+mn-ea"/>
                <a:cs typeface="+mn-cs"/>
              </a:endParaRPr>
            </a:p>
          </p:txBody>
        </p:sp>
        <p:sp>
          <p:nvSpPr>
            <p:cNvPr id="33" name="Oval 155">
              <a:extLst>
                <a:ext uri="{FF2B5EF4-FFF2-40B4-BE49-F238E27FC236}">
                  <a16:creationId xmlns:a16="http://schemas.microsoft.com/office/drawing/2014/main" id="{BCD9EAC0-8C25-9E57-A2B7-BA2DE6024F22}"/>
                </a:ext>
              </a:extLst>
            </p:cNvPr>
            <p:cNvSpPr/>
            <p:nvPr/>
          </p:nvSpPr>
          <p:spPr>
            <a:xfrm rot="18900000">
              <a:off x="6495804" y="2946632"/>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Light"/>
                <a:ea typeface="+mn-ea"/>
                <a:cs typeface="+mn-cs"/>
              </a:endParaRPr>
            </a:p>
          </p:txBody>
        </p:sp>
        <p:sp>
          <p:nvSpPr>
            <p:cNvPr id="34" name="Oval 155">
              <a:extLst>
                <a:ext uri="{FF2B5EF4-FFF2-40B4-BE49-F238E27FC236}">
                  <a16:creationId xmlns:a16="http://schemas.microsoft.com/office/drawing/2014/main" id="{FFAAA724-BA87-77A5-54B9-A0DE36C6E6A8}"/>
                </a:ext>
              </a:extLst>
            </p:cNvPr>
            <p:cNvSpPr/>
            <p:nvPr/>
          </p:nvSpPr>
          <p:spPr>
            <a:xfrm rot="18900000">
              <a:off x="4764129" y="2946658"/>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Light"/>
                <a:ea typeface="+mn-ea"/>
                <a:cs typeface="+mn-cs"/>
              </a:endParaRPr>
            </a:p>
          </p:txBody>
        </p:sp>
        <p:sp>
          <p:nvSpPr>
            <p:cNvPr id="35" name="Rectangle 140">
              <a:extLst>
                <a:ext uri="{FF2B5EF4-FFF2-40B4-BE49-F238E27FC236}">
                  <a16:creationId xmlns:a16="http://schemas.microsoft.com/office/drawing/2014/main" id="{4D9CAE02-B8A9-CDFD-92DC-AD0950A28885}"/>
                </a:ext>
              </a:extLst>
            </p:cNvPr>
            <p:cNvSpPr/>
            <p:nvPr/>
          </p:nvSpPr>
          <p:spPr>
            <a:xfrm rot="2700000">
              <a:off x="5629954" y="3812482"/>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D0D0CE"/>
                </a:solidFill>
                <a:effectLst/>
                <a:uLnTx/>
                <a:uFillTx/>
                <a:latin typeface="Calibri Light"/>
                <a:ea typeface="+mn-ea"/>
                <a:cs typeface="+mn-cs"/>
              </a:endParaRPr>
            </a:p>
          </p:txBody>
        </p:sp>
        <p:sp>
          <p:nvSpPr>
            <p:cNvPr id="36" name="Rectangle 35">
              <a:extLst>
                <a:ext uri="{FF2B5EF4-FFF2-40B4-BE49-F238E27FC236}">
                  <a16:creationId xmlns:a16="http://schemas.microsoft.com/office/drawing/2014/main" id="{389D4807-F5C0-6B95-0674-41C1549172C7}"/>
                </a:ext>
              </a:extLst>
            </p:cNvPr>
            <p:cNvSpPr/>
            <p:nvPr/>
          </p:nvSpPr>
          <p:spPr>
            <a:xfrm>
              <a:off x="8984595" y="2176418"/>
              <a:ext cx="2474154" cy="1028780"/>
            </a:xfrm>
            <a:prstGeom prst="rect">
              <a:avLst/>
            </a:prstGeom>
            <a:ln>
              <a:solidFill>
                <a:schemeClr val="accent3"/>
              </a:solidFill>
            </a:ln>
          </p:spPr>
          <p:txBody>
            <a:bodyPr wrap="square" lIns="0" tIns="0" rIns="0" bIns="0">
              <a:spAutoFit/>
            </a:bodyPr>
            <a:lstStyle/>
            <a:p>
              <a:pPr marL="171450" marR="0" lvl="0" indent="-171450" algn="l" defTabSz="914400" rtl="0" eaLnBrk="1" fontAlgn="b" latinLnBrk="0" hangingPunct="1">
                <a:lnSpc>
                  <a:spcPts val="12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26890D"/>
                  </a:solidFill>
                  <a:effectLst/>
                  <a:uLnTx/>
                  <a:uFillTx/>
                  <a:latin typeface="Calibri Light"/>
                  <a:ea typeface="+mn-ea"/>
                  <a:cs typeface="+mn-cs"/>
                </a:rPr>
                <a:t>2.Sustainability</a:t>
              </a:r>
              <a:br>
                <a:rPr kumimoji="0" lang="en-US" sz="1200" b="1" i="0" u="none" strike="noStrike" kern="1200" cap="none" spc="0" normalizeH="0" baseline="0" noProof="0" dirty="0">
                  <a:ln>
                    <a:noFill/>
                  </a:ln>
                  <a:solidFill>
                    <a:prstClr val="black"/>
                  </a:solidFill>
                  <a:effectLst/>
                  <a:uLnTx/>
                  <a:uFillTx/>
                  <a:latin typeface="Calibri Light"/>
                  <a:ea typeface="+mn-ea"/>
                  <a:cs typeface="+mn-cs"/>
                </a:rPr>
              </a:br>
              <a:r>
                <a:rPr kumimoji="0" lang="en-US" sz="1200" b="0" i="0" u="none" strike="noStrike" kern="1200" cap="none" spc="0" normalizeH="0" baseline="0" noProof="0" dirty="0">
                  <a:ln>
                    <a:noFill/>
                  </a:ln>
                  <a:solidFill>
                    <a:srgbClr val="000000"/>
                  </a:solidFill>
                  <a:effectLst/>
                  <a:uLnTx/>
                  <a:uFillTx/>
                  <a:latin typeface="Calibri Light"/>
                  <a:ea typeface="+mn-ea"/>
                  <a:cs typeface="Times New Roman" panose="02020603050405020304" pitchFamily="18" charset="0"/>
                </a:rPr>
                <a:t>Private investments ensure sustainable development through competitive practices and accountability.</a:t>
              </a:r>
            </a:p>
            <a:p>
              <a:pPr marL="171450" marR="0" lvl="0" indent="-171450" algn="l" defTabSz="914400" rtl="0" eaLnBrk="1" fontAlgn="b" latinLnBrk="0" hangingPunct="1">
                <a:lnSpc>
                  <a:spcPts val="1200"/>
                </a:lnSpc>
                <a:spcBef>
                  <a:spcPts val="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7" name="Rectangle 36">
              <a:extLst>
                <a:ext uri="{FF2B5EF4-FFF2-40B4-BE49-F238E27FC236}">
                  <a16:creationId xmlns:a16="http://schemas.microsoft.com/office/drawing/2014/main" id="{EED738D5-74F2-F94E-4501-DE720C376B5D}"/>
                </a:ext>
              </a:extLst>
            </p:cNvPr>
            <p:cNvSpPr/>
            <p:nvPr/>
          </p:nvSpPr>
          <p:spPr>
            <a:xfrm>
              <a:off x="8350011" y="5195775"/>
              <a:ext cx="2048207" cy="1200243"/>
            </a:xfrm>
            <a:prstGeom prst="rect">
              <a:avLst/>
            </a:prstGeom>
            <a:ln>
              <a:solidFill>
                <a:schemeClr val="accent4"/>
              </a:solidFill>
            </a:ln>
          </p:spPr>
          <p:txBody>
            <a:bodyPr wrap="square" lIns="0" tIns="0" rIns="0" bIns="0">
              <a:spAutoFit/>
            </a:bodyPr>
            <a:lstStyle/>
            <a:p>
              <a:pPr marL="171450" marR="0" lvl="0" indent="-171450" algn="l" defTabSz="914400" rtl="0" eaLnBrk="1" fontAlgn="b" latinLnBrk="0" hangingPunct="1">
                <a:lnSpc>
                  <a:spcPts val="12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46A38"/>
                  </a:solidFill>
                  <a:effectLst/>
                  <a:uLnTx/>
                  <a:uFillTx/>
                  <a:latin typeface="Calibri Light"/>
                  <a:ea typeface="+mn-ea"/>
                  <a:cs typeface="+mn-cs"/>
                </a:rPr>
                <a:t>4.Economic Growth: </a:t>
              </a:r>
              <a:r>
                <a:rPr kumimoji="0" lang="en-US" sz="1200" b="0" i="0" u="none" strike="noStrike" kern="1200" cap="none" spc="0" normalizeH="0" baseline="0" noProof="0" dirty="0">
                  <a:ln>
                    <a:noFill/>
                  </a:ln>
                  <a:solidFill>
                    <a:srgbClr val="000000"/>
                  </a:solidFill>
                  <a:effectLst/>
                  <a:uLnTx/>
                  <a:uFillTx/>
                  <a:latin typeface="Calibri Light"/>
                  <a:ea typeface="Times New Roman" panose="02020603050405020304" pitchFamily="18" charset="0"/>
                  <a:cs typeface="Times New Roman" panose="02020603050405020304" pitchFamily="18" charset="0"/>
                </a:rPr>
                <a:t>Reliable energy is a catalyst for industrial growth, attracting more investments and stimulating the economy.</a:t>
              </a:r>
            </a:p>
            <a:p>
              <a:pPr marL="171450" marR="0" lvl="0" indent="-171450" algn="l" defTabSz="914400" rtl="0" eaLnBrk="1" fontAlgn="b" latinLnBrk="0" hangingPunct="1">
                <a:lnSpc>
                  <a:spcPts val="12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8" name="Rectangle 37">
              <a:extLst>
                <a:ext uri="{FF2B5EF4-FFF2-40B4-BE49-F238E27FC236}">
                  <a16:creationId xmlns:a16="http://schemas.microsoft.com/office/drawing/2014/main" id="{D9E60F1A-3F1B-DA43-8EDD-BBEA9170A6CE}"/>
                </a:ext>
              </a:extLst>
            </p:cNvPr>
            <p:cNvSpPr/>
            <p:nvPr/>
          </p:nvSpPr>
          <p:spPr>
            <a:xfrm>
              <a:off x="808054" y="2282828"/>
              <a:ext cx="1969021" cy="1371706"/>
            </a:xfrm>
            <a:prstGeom prst="rect">
              <a:avLst/>
            </a:prstGeom>
            <a:ln>
              <a:solidFill>
                <a:schemeClr val="accent2"/>
              </a:solidFill>
            </a:ln>
          </p:spPr>
          <p:txBody>
            <a:bodyPr wrap="square" lIns="0" tIns="0" rIns="0" bIns="0">
              <a:spAutoFit/>
            </a:bodyPr>
            <a:lstStyle/>
            <a:p>
              <a:pPr marL="171450" marR="0" lvl="0" indent="-171450" algn="l" defTabSz="914400" rtl="0" eaLnBrk="1" fontAlgn="b" latinLnBrk="0" hangingPunct="1">
                <a:lnSpc>
                  <a:spcPts val="12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43B02A"/>
                  </a:solidFill>
                  <a:effectLst/>
                  <a:uLnTx/>
                  <a:uFillTx/>
                  <a:latin typeface="Calibri Light"/>
                  <a:ea typeface="+mn-ea"/>
                  <a:cs typeface="+mn-cs"/>
                </a:rPr>
                <a:t>1.Capital and Expertise: </a:t>
              </a:r>
              <a:br>
                <a:rPr kumimoji="0" lang="en-US" sz="1200" b="1" i="0" u="none" strike="noStrike" kern="1200" cap="none" spc="0" normalizeH="0" baseline="0" noProof="0" dirty="0">
                  <a:ln>
                    <a:noFill/>
                  </a:ln>
                  <a:solidFill>
                    <a:prstClr val="black"/>
                  </a:solidFill>
                  <a:effectLst/>
                  <a:uLnTx/>
                  <a:uFillTx/>
                  <a:latin typeface="Calibri Light"/>
                  <a:ea typeface="+mn-ea"/>
                  <a:cs typeface="+mn-cs"/>
                </a:rPr>
              </a:br>
              <a:r>
                <a:rPr kumimoji="0" lang="en-US" sz="1200" b="0" i="0" u="none" strike="noStrike" kern="1200" cap="none" spc="0" normalizeH="0" baseline="0" noProof="0" dirty="0">
                  <a:ln>
                    <a:noFill/>
                  </a:ln>
                  <a:solidFill>
                    <a:srgbClr val="000000"/>
                  </a:solidFill>
                  <a:effectLst/>
                  <a:uLnTx/>
                  <a:uFillTx/>
                  <a:latin typeface="Calibri Light"/>
                  <a:ea typeface="Times New Roman" panose="02020603050405020304" pitchFamily="18" charset="0"/>
                  <a:cs typeface="Times New Roman" panose="02020603050405020304" pitchFamily="18" charset="0"/>
                </a:rPr>
                <a:t>The private sector brings in much-needed capital and technical expertise, driving efficiency and innovation in energy projects</a:t>
              </a:r>
            </a:p>
            <a:p>
              <a:pPr marR="0" lvl="0" algn="l" defTabSz="914400" rtl="0" eaLnBrk="1" fontAlgn="b" latinLnBrk="0" hangingPunct="1">
                <a:lnSpc>
                  <a:spcPts val="1200"/>
                </a:lnSpc>
                <a:spcBef>
                  <a:spcPts val="0"/>
                </a:spcBef>
                <a:spcAft>
                  <a:spcPts val="0"/>
                </a:spcAft>
                <a:buClrTx/>
                <a:buSzTx/>
                <a:tabLst/>
                <a:defRPr/>
              </a:pPr>
              <a:r>
                <a:rPr kumimoji="0" lang="en-US" sz="1100" b="0" i="0" u="none" strike="noStrike" kern="1200" cap="none" spc="0" normalizeH="0" baseline="0" noProof="0" dirty="0">
                  <a:ln>
                    <a:noFill/>
                  </a:ln>
                  <a:solidFill>
                    <a:srgbClr val="000000"/>
                  </a:solidFill>
                  <a:effectLst/>
                  <a:uLnTx/>
                  <a:uFillTx/>
                  <a:latin typeface="Calibri Light"/>
                  <a:ea typeface="Times New Roman" panose="02020603050405020304" pitchFamily="18" charset="0"/>
                  <a:cs typeface="Times New Roman" panose="02020603050405020304" pitchFamily="18" charset="0"/>
                </a:rPr>
                <a:t>.</a:t>
              </a:r>
              <a:endParaRPr kumimoji="0" lang="en-US"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39" name="Rectangle 38">
              <a:extLst>
                <a:ext uri="{FF2B5EF4-FFF2-40B4-BE49-F238E27FC236}">
                  <a16:creationId xmlns:a16="http://schemas.microsoft.com/office/drawing/2014/main" id="{180BFA05-CC0D-692F-2507-502835672A8F}"/>
                </a:ext>
              </a:extLst>
            </p:cNvPr>
            <p:cNvSpPr/>
            <p:nvPr/>
          </p:nvSpPr>
          <p:spPr>
            <a:xfrm>
              <a:off x="895723" y="4993469"/>
              <a:ext cx="2214207" cy="857316"/>
            </a:xfrm>
            <a:prstGeom prst="rect">
              <a:avLst/>
            </a:prstGeom>
            <a:ln>
              <a:solidFill>
                <a:schemeClr val="accent5"/>
              </a:solidFill>
            </a:ln>
          </p:spPr>
          <p:txBody>
            <a:bodyPr wrap="square" lIns="0" tIns="0" rIns="0" bIns="0">
              <a:spAutoFit/>
            </a:bodyPr>
            <a:lstStyle/>
            <a:p>
              <a:pPr marL="171450" marR="0" lvl="0" indent="-171450" algn="l" defTabSz="914400" rtl="0" eaLnBrk="1" fontAlgn="b" latinLnBrk="0" hangingPunct="1">
                <a:lnSpc>
                  <a:spcPts val="12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7680"/>
                  </a:solidFill>
                  <a:effectLst/>
                  <a:uLnTx/>
                  <a:uFillTx/>
                  <a:latin typeface="Calibri Light"/>
                  <a:ea typeface="+mn-ea"/>
                  <a:cs typeface="+mn-cs"/>
                </a:rPr>
                <a:t>3.Job Creation: </a:t>
              </a:r>
              <a:br>
                <a:rPr kumimoji="0" lang="en-US" sz="1200" b="1" i="0" u="none" strike="noStrike" kern="1200" cap="none" spc="0" normalizeH="0" baseline="0" noProof="0" dirty="0">
                  <a:ln>
                    <a:noFill/>
                  </a:ln>
                  <a:solidFill>
                    <a:prstClr val="black"/>
                  </a:solidFill>
                  <a:effectLst/>
                  <a:uLnTx/>
                  <a:uFillTx/>
                  <a:latin typeface="Calibri Light"/>
                  <a:ea typeface="+mn-ea"/>
                  <a:cs typeface="+mn-cs"/>
                </a:rPr>
              </a:br>
              <a:r>
                <a:rPr kumimoji="0" lang="en-US" sz="1200" b="0" i="0" u="none" strike="noStrike" kern="1200" cap="none" spc="0" normalizeH="0" baseline="0" noProof="0" dirty="0">
                  <a:ln>
                    <a:noFill/>
                  </a:ln>
                  <a:solidFill>
                    <a:srgbClr val="000000"/>
                  </a:solidFill>
                  <a:effectLst/>
                  <a:uLnTx/>
                  <a:uFillTx/>
                  <a:latin typeface="Calibri Light"/>
                  <a:ea typeface="Times New Roman" panose="02020603050405020304" pitchFamily="18" charset="0"/>
                  <a:cs typeface="Times New Roman" panose="02020603050405020304" pitchFamily="18" charset="0"/>
                </a:rPr>
                <a:t> Investments spur economic activities, creating jobs and fostering local talent.</a:t>
              </a:r>
            </a:p>
            <a:p>
              <a:pPr marL="171450" marR="0" lvl="0" indent="-171450" algn="l" defTabSz="914400" rtl="0" eaLnBrk="1" fontAlgn="b" latinLnBrk="0" hangingPunct="1">
                <a:lnSpc>
                  <a:spcPts val="1200"/>
                </a:lnSpc>
                <a:spcBef>
                  <a:spcPts val="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40" name="Freeform 41">
              <a:extLst>
                <a:ext uri="{FF2B5EF4-FFF2-40B4-BE49-F238E27FC236}">
                  <a16:creationId xmlns:a16="http://schemas.microsoft.com/office/drawing/2014/main" id="{C052B446-3CD2-F3DA-2F77-D05AC7F152CC}"/>
                </a:ext>
              </a:extLst>
            </p:cNvPr>
            <p:cNvSpPr/>
            <p:nvPr/>
          </p:nvSpPr>
          <p:spPr bwMode="gray">
            <a:xfrm flipH="1">
              <a:off x="6417719" y="2101515"/>
              <a:ext cx="2133600" cy="464893"/>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rgbClr val="BBBCBC"/>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7CB0"/>
                </a:solidFill>
                <a:effectLst/>
                <a:uLnTx/>
                <a:uFillTx/>
                <a:latin typeface="Calibri Light"/>
                <a:ea typeface="+mn-ea"/>
                <a:cs typeface="+mn-cs"/>
              </a:endParaRPr>
            </a:p>
          </p:txBody>
        </p:sp>
        <p:sp>
          <p:nvSpPr>
            <p:cNvPr id="41" name="Freeform 62">
              <a:extLst>
                <a:ext uri="{FF2B5EF4-FFF2-40B4-BE49-F238E27FC236}">
                  <a16:creationId xmlns:a16="http://schemas.microsoft.com/office/drawing/2014/main" id="{454EE573-F1A2-FC5C-4BC3-82B57F9FBF97}"/>
                </a:ext>
              </a:extLst>
            </p:cNvPr>
            <p:cNvSpPr>
              <a:spLocks noChangeAspect="1" noEditPoints="1"/>
            </p:cNvSpPr>
            <p:nvPr/>
          </p:nvSpPr>
          <p:spPr bwMode="auto">
            <a:xfrm>
              <a:off x="8045335" y="5564647"/>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42" name="Group 41">
              <a:extLst>
                <a:ext uri="{FF2B5EF4-FFF2-40B4-BE49-F238E27FC236}">
                  <a16:creationId xmlns:a16="http://schemas.microsoft.com/office/drawing/2014/main" id="{1345A48F-D467-A5DC-B7D8-9FF4CDE91EA6}"/>
                </a:ext>
              </a:extLst>
            </p:cNvPr>
            <p:cNvGrpSpPr/>
            <p:nvPr/>
          </p:nvGrpSpPr>
          <p:grpSpPr>
            <a:xfrm>
              <a:off x="3691524" y="5542671"/>
              <a:ext cx="483327" cy="466148"/>
              <a:chOff x="2185477" y="5525527"/>
              <a:chExt cx="523177" cy="504582"/>
            </a:xfrm>
          </p:grpSpPr>
          <p:sp>
            <p:nvSpPr>
              <p:cNvPr id="43" name="Freeform 33">
                <a:extLst>
                  <a:ext uri="{FF2B5EF4-FFF2-40B4-BE49-F238E27FC236}">
                    <a16:creationId xmlns:a16="http://schemas.microsoft.com/office/drawing/2014/main" id="{3E06C725-B2E3-BB93-7703-4D40347EF4C0}"/>
                  </a:ext>
                </a:extLst>
              </p:cNvPr>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44" name="Freeform 33">
                <a:extLst>
                  <a:ext uri="{FF2B5EF4-FFF2-40B4-BE49-F238E27FC236}">
                    <a16:creationId xmlns:a16="http://schemas.microsoft.com/office/drawing/2014/main" id="{4C983208-FC41-D125-3054-A3C8D821EAE7}"/>
                  </a:ext>
                </a:extLst>
              </p:cNvPr>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0" name="Freeform 33">
                <a:extLst>
                  <a:ext uri="{FF2B5EF4-FFF2-40B4-BE49-F238E27FC236}">
                    <a16:creationId xmlns:a16="http://schemas.microsoft.com/office/drawing/2014/main" id="{46927C00-FBAD-959A-1E1F-F754B0D23064}"/>
                  </a:ext>
                </a:extLst>
              </p:cNvPr>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5" name="Freeform 33">
                <a:extLst>
                  <a:ext uri="{FF2B5EF4-FFF2-40B4-BE49-F238E27FC236}">
                    <a16:creationId xmlns:a16="http://schemas.microsoft.com/office/drawing/2014/main" id="{04DD1C57-097C-5BA3-550D-DEE6C74BCE56}"/>
                  </a:ext>
                </a:extLst>
              </p:cNvPr>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56" name="Freeform 806">
              <a:extLst>
                <a:ext uri="{FF2B5EF4-FFF2-40B4-BE49-F238E27FC236}">
                  <a16:creationId xmlns:a16="http://schemas.microsoft.com/office/drawing/2014/main" id="{3FA2E3CF-CC41-F634-5DB5-7643808EB3BD}"/>
                </a:ext>
              </a:extLst>
            </p:cNvPr>
            <p:cNvSpPr>
              <a:spLocks noChangeAspect="1" noEditPoints="1"/>
            </p:cNvSpPr>
            <p:nvPr/>
          </p:nvSpPr>
          <p:spPr bwMode="auto">
            <a:xfrm>
              <a:off x="3288361" y="5059478"/>
              <a:ext cx="585231" cy="585231"/>
            </a:xfrm>
            <a:custGeom>
              <a:avLst/>
              <a:gdLst>
                <a:gd name="T0" fmla="*/ 275 w 512"/>
                <a:gd name="T1" fmla="*/ 288 h 512"/>
                <a:gd name="T2" fmla="*/ 254 w 512"/>
                <a:gd name="T3" fmla="*/ 202 h 512"/>
                <a:gd name="T4" fmla="*/ 256 w 512"/>
                <a:gd name="T5" fmla="*/ 138 h 512"/>
                <a:gd name="T6" fmla="*/ 256 w 512"/>
                <a:gd name="T7" fmla="*/ 117 h 512"/>
                <a:gd name="T8" fmla="*/ 256 w 512"/>
                <a:gd name="T9" fmla="*/ 138 h 512"/>
                <a:gd name="T10" fmla="*/ 160 w 512"/>
                <a:gd name="T11" fmla="*/ 128 h 512"/>
                <a:gd name="T12" fmla="*/ 138 w 512"/>
                <a:gd name="T13" fmla="*/ 128 h 512"/>
                <a:gd name="T14" fmla="*/ 147 w 512"/>
                <a:gd name="T15" fmla="*/ 202 h 512"/>
                <a:gd name="T16" fmla="*/ 168 w 512"/>
                <a:gd name="T17" fmla="*/ 288 h 512"/>
                <a:gd name="T18" fmla="*/ 147 w 512"/>
                <a:gd name="T19" fmla="*/ 202 h 512"/>
                <a:gd name="T20" fmla="*/ 384 w 512"/>
                <a:gd name="T21" fmla="*/ 266 h 512"/>
                <a:gd name="T22" fmla="*/ 341 w 512"/>
                <a:gd name="T23" fmla="*/ 202 h 512"/>
                <a:gd name="T24" fmla="*/ 362 w 512"/>
                <a:gd name="T25" fmla="*/ 138 h 512"/>
                <a:gd name="T26" fmla="*/ 362 w 512"/>
                <a:gd name="T27" fmla="*/ 117 h 512"/>
                <a:gd name="T28" fmla="*/ 362 w 512"/>
                <a:gd name="T29" fmla="*/ 138 h 512"/>
                <a:gd name="T30" fmla="*/ 256 w 512"/>
                <a:gd name="T31" fmla="*/ 512 h 512"/>
                <a:gd name="T32" fmla="*/ 256 w 512"/>
                <a:gd name="T33" fmla="*/ 0 h 512"/>
                <a:gd name="T34" fmla="*/ 330 w 512"/>
                <a:gd name="T35" fmla="*/ 128 h 512"/>
                <a:gd name="T36" fmla="*/ 394 w 512"/>
                <a:gd name="T37" fmla="*/ 128 h 512"/>
                <a:gd name="T38" fmla="*/ 330 w 512"/>
                <a:gd name="T39" fmla="*/ 128 h 512"/>
                <a:gd name="T40" fmla="*/ 256 w 512"/>
                <a:gd name="T41" fmla="*/ 160 h 512"/>
                <a:gd name="T42" fmla="*/ 256 w 512"/>
                <a:gd name="T43" fmla="*/ 96 h 512"/>
                <a:gd name="T44" fmla="*/ 117 w 512"/>
                <a:gd name="T45" fmla="*/ 128 h 512"/>
                <a:gd name="T46" fmla="*/ 181 w 512"/>
                <a:gd name="T47" fmla="*/ 128 h 512"/>
                <a:gd name="T48" fmla="*/ 117 w 512"/>
                <a:gd name="T49" fmla="*/ 128 h 512"/>
                <a:gd name="T50" fmla="*/ 170 w 512"/>
                <a:gd name="T51" fmla="*/ 190 h 512"/>
                <a:gd name="T52" fmla="*/ 138 w 512"/>
                <a:gd name="T53" fmla="*/ 181 h 512"/>
                <a:gd name="T54" fmla="*/ 107 w 512"/>
                <a:gd name="T55" fmla="*/ 296 h 512"/>
                <a:gd name="T56" fmla="*/ 117 w 512"/>
                <a:gd name="T57" fmla="*/ 309 h 512"/>
                <a:gd name="T58" fmla="*/ 128 w 512"/>
                <a:gd name="T59" fmla="*/ 394 h 512"/>
                <a:gd name="T60" fmla="*/ 138 w 512"/>
                <a:gd name="T61" fmla="*/ 309 h 512"/>
                <a:gd name="T62" fmla="*/ 160 w 512"/>
                <a:gd name="T63" fmla="*/ 384 h 512"/>
                <a:gd name="T64" fmla="*/ 181 w 512"/>
                <a:gd name="T65" fmla="*/ 384 h 512"/>
                <a:gd name="T66" fmla="*/ 189 w 512"/>
                <a:gd name="T67" fmla="*/ 305 h 512"/>
                <a:gd name="T68" fmla="*/ 298 w 512"/>
                <a:gd name="T69" fmla="*/ 296 h 512"/>
                <a:gd name="T70" fmla="*/ 266 w 512"/>
                <a:gd name="T71" fmla="*/ 181 h 512"/>
                <a:gd name="T72" fmla="*/ 235 w 512"/>
                <a:gd name="T73" fmla="*/ 190 h 512"/>
                <a:gd name="T74" fmla="*/ 215 w 512"/>
                <a:gd name="T75" fmla="*/ 305 h 512"/>
                <a:gd name="T76" fmla="*/ 224 w 512"/>
                <a:gd name="T77" fmla="*/ 384 h 512"/>
                <a:gd name="T78" fmla="*/ 245 w 512"/>
                <a:gd name="T79" fmla="*/ 384 h 512"/>
                <a:gd name="T80" fmla="*/ 266 w 512"/>
                <a:gd name="T81" fmla="*/ 309 h 512"/>
                <a:gd name="T82" fmla="*/ 277 w 512"/>
                <a:gd name="T83" fmla="*/ 394 h 512"/>
                <a:gd name="T84" fmla="*/ 288 w 512"/>
                <a:gd name="T85" fmla="*/ 309 h 512"/>
                <a:gd name="T86" fmla="*/ 298 w 512"/>
                <a:gd name="T87" fmla="*/ 296 h 512"/>
                <a:gd name="T88" fmla="*/ 394 w 512"/>
                <a:gd name="T89" fmla="*/ 181 h 512"/>
                <a:gd name="T90" fmla="*/ 320 w 512"/>
                <a:gd name="T91" fmla="*/ 192 h 512"/>
                <a:gd name="T92" fmla="*/ 330 w 512"/>
                <a:gd name="T93" fmla="*/ 288 h 512"/>
                <a:gd name="T94" fmla="*/ 341 w 512"/>
                <a:gd name="T95" fmla="*/ 394 h 512"/>
                <a:gd name="T96" fmla="*/ 352 w 512"/>
                <a:gd name="T97" fmla="*/ 288 h 512"/>
                <a:gd name="T98" fmla="*/ 373 w 512"/>
                <a:gd name="T99" fmla="*/ 384 h 512"/>
                <a:gd name="T100" fmla="*/ 394 w 512"/>
                <a:gd name="T101" fmla="*/ 384 h 512"/>
                <a:gd name="T102" fmla="*/ 405 w 512"/>
                <a:gd name="T10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258" y="202"/>
                  </a:moveTo>
                  <a:cubicBezTo>
                    <a:pt x="275" y="288"/>
                    <a:pt x="275" y="288"/>
                    <a:pt x="275" y="288"/>
                  </a:cubicBezTo>
                  <a:cubicBezTo>
                    <a:pt x="237" y="288"/>
                    <a:pt x="237" y="288"/>
                    <a:pt x="237" y="288"/>
                  </a:cubicBezTo>
                  <a:cubicBezTo>
                    <a:pt x="254" y="202"/>
                    <a:pt x="254" y="202"/>
                    <a:pt x="254" y="202"/>
                  </a:cubicBezTo>
                  <a:lnTo>
                    <a:pt x="258" y="202"/>
                  </a:lnTo>
                  <a:close/>
                  <a:moveTo>
                    <a:pt x="256" y="138"/>
                  </a:moveTo>
                  <a:cubicBezTo>
                    <a:pt x="262" y="138"/>
                    <a:pt x="266" y="134"/>
                    <a:pt x="266" y="128"/>
                  </a:cubicBezTo>
                  <a:cubicBezTo>
                    <a:pt x="266" y="122"/>
                    <a:pt x="262" y="117"/>
                    <a:pt x="256" y="117"/>
                  </a:cubicBezTo>
                  <a:cubicBezTo>
                    <a:pt x="250" y="117"/>
                    <a:pt x="245" y="122"/>
                    <a:pt x="245" y="128"/>
                  </a:cubicBezTo>
                  <a:cubicBezTo>
                    <a:pt x="245" y="134"/>
                    <a:pt x="250" y="138"/>
                    <a:pt x="256" y="138"/>
                  </a:cubicBezTo>
                  <a:close/>
                  <a:moveTo>
                    <a:pt x="149" y="138"/>
                  </a:moveTo>
                  <a:cubicBezTo>
                    <a:pt x="155" y="138"/>
                    <a:pt x="160" y="134"/>
                    <a:pt x="160" y="128"/>
                  </a:cubicBezTo>
                  <a:cubicBezTo>
                    <a:pt x="160" y="122"/>
                    <a:pt x="155" y="117"/>
                    <a:pt x="149" y="117"/>
                  </a:cubicBezTo>
                  <a:cubicBezTo>
                    <a:pt x="143" y="117"/>
                    <a:pt x="138" y="122"/>
                    <a:pt x="138" y="128"/>
                  </a:cubicBezTo>
                  <a:cubicBezTo>
                    <a:pt x="138" y="134"/>
                    <a:pt x="143" y="138"/>
                    <a:pt x="149" y="138"/>
                  </a:cubicBezTo>
                  <a:close/>
                  <a:moveTo>
                    <a:pt x="147" y="202"/>
                  </a:moveTo>
                  <a:cubicBezTo>
                    <a:pt x="130" y="288"/>
                    <a:pt x="130" y="288"/>
                    <a:pt x="130" y="288"/>
                  </a:cubicBezTo>
                  <a:cubicBezTo>
                    <a:pt x="168" y="288"/>
                    <a:pt x="168" y="288"/>
                    <a:pt x="168" y="288"/>
                  </a:cubicBezTo>
                  <a:cubicBezTo>
                    <a:pt x="151" y="202"/>
                    <a:pt x="151" y="202"/>
                    <a:pt x="151" y="202"/>
                  </a:cubicBezTo>
                  <a:lnTo>
                    <a:pt x="147" y="202"/>
                  </a:lnTo>
                  <a:close/>
                  <a:moveTo>
                    <a:pt x="341" y="266"/>
                  </a:moveTo>
                  <a:cubicBezTo>
                    <a:pt x="384" y="266"/>
                    <a:pt x="384" y="266"/>
                    <a:pt x="384" y="266"/>
                  </a:cubicBezTo>
                  <a:cubicBezTo>
                    <a:pt x="384" y="202"/>
                    <a:pt x="384" y="202"/>
                    <a:pt x="384" y="202"/>
                  </a:cubicBezTo>
                  <a:cubicBezTo>
                    <a:pt x="341" y="202"/>
                    <a:pt x="341" y="202"/>
                    <a:pt x="341" y="202"/>
                  </a:cubicBezTo>
                  <a:lnTo>
                    <a:pt x="341" y="266"/>
                  </a:lnTo>
                  <a:close/>
                  <a:moveTo>
                    <a:pt x="362" y="138"/>
                  </a:moveTo>
                  <a:cubicBezTo>
                    <a:pt x="368" y="138"/>
                    <a:pt x="373" y="134"/>
                    <a:pt x="373" y="128"/>
                  </a:cubicBezTo>
                  <a:cubicBezTo>
                    <a:pt x="373" y="122"/>
                    <a:pt x="368" y="117"/>
                    <a:pt x="362" y="117"/>
                  </a:cubicBezTo>
                  <a:cubicBezTo>
                    <a:pt x="356" y="117"/>
                    <a:pt x="352" y="122"/>
                    <a:pt x="352" y="128"/>
                  </a:cubicBezTo>
                  <a:cubicBezTo>
                    <a:pt x="352" y="134"/>
                    <a:pt x="356" y="138"/>
                    <a:pt x="362" y="13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28"/>
                  </a:moveTo>
                  <a:cubicBezTo>
                    <a:pt x="330" y="145"/>
                    <a:pt x="345" y="160"/>
                    <a:pt x="362" y="160"/>
                  </a:cubicBezTo>
                  <a:cubicBezTo>
                    <a:pt x="380" y="160"/>
                    <a:pt x="394" y="145"/>
                    <a:pt x="394" y="128"/>
                  </a:cubicBezTo>
                  <a:cubicBezTo>
                    <a:pt x="394" y="110"/>
                    <a:pt x="380" y="96"/>
                    <a:pt x="362" y="96"/>
                  </a:cubicBezTo>
                  <a:cubicBezTo>
                    <a:pt x="345" y="96"/>
                    <a:pt x="330" y="110"/>
                    <a:pt x="330" y="128"/>
                  </a:cubicBezTo>
                  <a:close/>
                  <a:moveTo>
                    <a:pt x="224" y="128"/>
                  </a:moveTo>
                  <a:cubicBezTo>
                    <a:pt x="224" y="145"/>
                    <a:pt x="238" y="160"/>
                    <a:pt x="256" y="160"/>
                  </a:cubicBezTo>
                  <a:cubicBezTo>
                    <a:pt x="273" y="160"/>
                    <a:pt x="288" y="145"/>
                    <a:pt x="288" y="128"/>
                  </a:cubicBezTo>
                  <a:cubicBezTo>
                    <a:pt x="288" y="110"/>
                    <a:pt x="273" y="96"/>
                    <a:pt x="256" y="96"/>
                  </a:cubicBezTo>
                  <a:cubicBezTo>
                    <a:pt x="238" y="96"/>
                    <a:pt x="224" y="110"/>
                    <a:pt x="224" y="128"/>
                  </a:cubicBezTo>
                  <a:close/>
                  <a:moveTo>
                    <a:pt x="117" y="128"/>
                  </a:moveTo>
                  <a:cubicBezTo>
                    <a:pt x="117" y="145"/>
                    <a:pt x="131" y="160"/>
                    <a:pt x="149" y="160"/>
                  </a:cubicBezTo>
                  <a:cubicBezTo>
                    <a:pt x="167" y="160"/>
                    <a:pt x="181" y="145"/>
                    <a:pt x="181" y="128"/>
                  </a:cubicBezTo>
                  <a:cubicBezTo>
                    <a:pt x="181" y="110"/>
                    <a:pt x="167" y="96"/>
                    <a:pt x="149" y="96"/>
                  </a:cubicBezTo>
                  <a:cubicBezTo>
                    <a:pt x="131" y="96"/>
                    <a:pt x="117" y="110"/>
                    <a:pt x="117" y="128"/>
                  </a:cubicBezTo>
                  <a:close/>
                  <a:moveTo>
                    <a:pt x="191" y="296"/>
                  </a:moveTo>
                  <a:cubicBezTo>
                    <a:pt x="170" y="190"/>
                    <a:pt x="170" y="190"/>
                    <a:pt x="170" y="190"/>
                  </a:cubicBezTo>
                  <a:cubicBezTo>
                    <a:pt x="169" y="185"/>
                    <a:pt x="165" y="181"/>
                    <a:pt x="160" y="181"/>
                  </a:cubicBezTo>
                  <a:cubicBezTo>
                    <a:pt x="138" y="181"/>
                    <a:pt x="138" y="181"/>
                    <a:pt x="138" y="181"/>
                  </a:cubicBezTo>
                  <a:cubicBezTo>
                    <a:pt x="133" y="181"/>
                    <a:pt x="129" y="185"/>
                    <a:pt x="128" y="190"/>
                  </a:cubicBezTo>
                  <a:cubicBezTo>
                    <a:pt x="107" y="296"/>
                    <a:pt x="107" y="296"/>
                    <a:pt x="107" y="296"/>
                  </a:cubicBezTo>
                  <a:cubicBezTo>
                    <a:pt x="106" y="299"/>
                    <a:pt x="107" y="303"/>
                    <a:pt x="109" y="305"/>
                  </a:cubicBezTo>
                  <a:cubicBezTo>
                    <a:pt x="111" y="308"/>
                    <a:pt x="114" y="309"/>
                    <a:pt x="117" y="309"/>
                  </a:cubicBezTo>
                  <a:cubicBezTo>
                    <a:pt x="117" y="384"/>
                    <a:pt x="117" y="384"/>
                    <a:pt x="117" y="384"/>
                  </a:cubicBezTo>
                  <a:cubicBezTo>
                    <a:pt x="117" y="390"/>
                    <a:pt x="122" y="394"/>
                    <a:pt x="128" y="394"/>
                  </a:cubicBezTo>
                  <a:cubicBezTo>
                    <a:pt x="134" y="394"/>
                    <a:pt x="138" y="390"/>
                    <a:pt x="138" y="384"/>
                  </a:cubicBezTo>
                  <a:cubicBezTo>
                    <a:pt x="138" y="309"/>
                    <a:pt x="138" y="309"/>
                    <a:pt x="138" y="309"/>
                  </a:cubicBezTo>
                  <a:cubicBezTo>
                    <a:pt x="160" y="309"/>
                    <a:pt x="160" y="309"/>
                    <a:pt x="160" y="309"/>
                  </a:cubicBezTo>
                  <a:cubicBezTo>
                    <a:pt x="160" y="384"/>
                    <a:pt x="160" y="384"/>
                    <a:pt x="160" y="384"/>
                  </a:cubicBezTo>
                  <a:cubicBezTo>
                    <a:pt x="160" y="390"/>
                    <a:pt x="164" y="394"/>
                    <a:pt x="170" y="394"/>
                  </a:cubicBezTo>
                  <a:cubicBezTo>
                    <a:pt x="176" y="394"/>
                    <a:pt x="181" y="390"/>
                    <a:pt x="181" y="384"/>
                  </a:cubicBezTo>
                  <a:cubicBezTo>
                    <a:pt x="181" y="309"/>
                    <a:pt x="181" y="309"/>
                    <a:pt x="181" y="309"/>
                  </a:cubicBezTo>
                  <a:cubicBezTo>
                    <a:pt x="184" y="309"/>
                    <a:pt x="187" y="308"/>
                    <a:pt x="189" y="305"/>
                  </a:cubicBezTo>
                  <a:cubicBezTo>
                    <a:pt x="191" y="303"/>
                    <a:pt x="192" y="299"/>
                    <a:pt x="191" y="296"/>
                  </a:cubicBezTo>
                  <a:close/>
                  <a:moveTo>
                    <a:pt x="298" y="296"/>
                  </a:moveTo>
                  <a:cubicBezTo>
                    <a:pt x="277" y="190"/>
                    <a:pt x="277" y="190"/>
                    <a:pt x="277" y="190"/>
                  </a:cubicBezTo>
                  <a:cubicBezTo>
                    <a:pt x="276" y="185"/>
                    <a:pt x="271" y="181"/>
                    <a:pt x="266" y="181"/>
                  </a:cubicBezTo>
                  <a:cubicBezTo>
                    <a:pt x="245" y="181"/>
                    <a:pt x="245" y="181"/>
                    <a:pt x="245" y="181"/>
                  </a:cubicBezTo>
                  <a:cubicBezTo>
                    <a:pt x="240" y="181"/>
                    <a:pt x="236" y="185"/>
                    <a:pt x="235" y="190"/>
                  </a:cubicBezTo>
                  <a:cubicBezTo>
                    <a:pt x="213" y="296"/>
                    <a:pt x="213" y="296"/>
                    <a:pt x="213" y="296"/>
                  </a:cubicBezTo>
                  <a:cubicBezTo>
                    <a:pt x="213" y="299"/>
                    <a:pt x="213" y="303"/>
                    <a:pt x="215" y="305"/>
                  </a:cubicBezTo>
                  <a:cubicBezTo>
                    <a:pt x="217" y="308"/>
                    <a:pt x="220" y="309"/>
                    <a:pt x="224" y="309"/>
                  </a:cubicBezTo>
                  <a:cubicBezTo>
                    <a:pt x="224" y="384"/>
                    <a:pt x="224" y="384"/>
                    <a:pt x="224" y="384"/>
                  </a:cubicBezTo>
                  <a:cubicBezTo>
                    <a:pt x="224" y="390"/>
                    <a:pt x="228" y="394"/>
                    <a:pt x="234" y="394"/>
                  </a:cubicBezTo>
                  <a:cubicBezTo>
                    <a:pt x="240" y="394"/>
                    <a:pt x="245" y="390"/>
                    <a:pt x="245" y="384"/>
                  </a:cubicBezTo>
                  <a:cubicBezTo>
                    <a:pt x="245" y="309"/>
                    <a:pt x="245" y="309"/>
                    <a:pt x="245" y="309"/>
                  </a:cubicBezTo>
                  <a:cubicBezTo>
                    <a:pt x="266" y="309"/>
                    <a:pt x="266" y="309"/>
                    <a:pt x="266" y="309"/>
                  </a:cubicBezTo>
                  <a:cubicBezTo>
                    <a:pt x="266" y="384"/>
                    <a:pt x="266" y="384"/>
                    <a:pt x="266" y="384"/>
                  </a:cubicBezTo>
                  <a:cubicBezTo>
                    <a:pt x="266" y="390"/>
                    <a:pt x="271" y="394"/>
                    <a:pt x="277" y="394"/>
                  </a:cubicBezTo>
                  <a:cubicBezTo>
                    <a:pt x="283" y="394"/>
                    <a:pt x="288" y="390"/>
                    <a:pt x="288" y="384"/>
                  </a:cubicBezTo>
                  <a:cubicBezTo>
                    <a:pt x="288" y="309"/>
                    <a:pt x="288" y="309"/>
                    <a:pt x="288" y="309"/>
                  </a:cubicBezTo>
                  <a:cubicBezTo>
                    <a:pt x="291" y="309"/>
                    <a:pt x="294" y="308"/>
                    <a:pt x="296" y="305"/>
                  </a:cubicBezTo>
                  <a:cubicBezTo>
                    <a:pt x="298" y="303"/>
                    <a:pt x="299" y="299"/>
                    <a:pt x="298" y="296"/>
                  </a:cubicBezTo>
                  <a:close/>
                  <a:moveTo>
                    <a:pt x="405" y="192"/>
                  </a:moveTo>
                  <a:cubicBezTo>
                    <a:pt x="405" y="186"/>
                    <a:pt x="400" y="181"/>
                    <a:pt x="394" y="181"/>
                  </a:cubicBezTo>
                  <a:cubicBezTo>
                    <a:pt x="330" y="181"/>
                    <a:pt x="330" y="181"/>
                    <a:pt x="330" y="181"/>
                  </a:cubicBezTo>
                  <a:cubicBezTo>
                    <a:pt x="324" y="181"/>
                    <a:pt x="320" y="186"/>
                    <a:pt x="320" y="192"/>
                  </a:cubicBezTo>
                  <a:cubicBezTo>
                    <a:pt x="320" y="277"/>
                    <a:pt x="320" y="277"/>
                    <a:pt x="320" y="277"/>
                  </a:cubicBezTo>
                  <a:cubicBezTo>
                    <a:pt x="320" y="283"/>
                    <a:pt x="324" y="288"/>
                    <a:pt x="330" y="288"/>
                  </a:cubicBezTo>
                  <a:cubicBezTo>
                    <a:pt x="330" y="384"/>
                    <a:pt x="330" y="384"/>
                    <a:pt x="330" y="384"/>
                  </a:cubicBezTo>
                  <a:cubicBezTo>
                    <a:pt x="330" y="390"/>
                    <a:pt x="335" y="394"/>
                    <a:pt x="341" y="394"/>
                  </a:cubicBezTo>
                  <a:cubicBezTo>
                    <a:pt x="347" y="394"/>
                    <a:pt x="352" y="390"/>
                    <a:pt x="352" y="384"/>
                  </a:cubicBezTo>
                  <a:cubicBezTo>
                    <a:pt x="352" y="288"/>
                    <a:pt x="352" y="288"/>
                    <a:pt x="352" y="288"/>
                  </a:cubicBezTo>
                  <a:cubicBezTo>
                    <a:pt x="373" y="288"/>
                    <a:pt x="373" y="288"/>
                    <a:pt x="373" y="288"/>
                  </a:cubicBezTo>
                  <a:cubicBezTo>
                    <a:pt x="373" y="384"/>
                    <a:pt x="373" y="384"/>
                    <a:pt x="373" y="384"/>
                  </a:cubicBezTo>
                  <a:cubicBezTo>
                    <a:pt x="373" y="390"/>
                    <a:pt x="378" y="394"/>
                    <a:pt x="384" y="394"/>
                  </a:cubicBezTo>
                  <a:cubicBezTo>
                    <a:pt x="390" y="394"/>
                    <a:pt x="394" y="390"/>
                    <a:pt x="394" y="384"/>
                  </a:cubicBezTo>
                  <a:cubicBezTo>
                    <a:pt x="394" y="288"/>
                    <a:pt x="394" y="288"/>
                    <a:pt x="394" y="288"/>
                  </a:cubicBezTo>
                  <a:cubicBezTo>
                    <a:pt x="400" y="288"/>
                    <a:pt x="405" y="283"/>
                    <a:pt x="405" y="277"/>
                  </a:cubicBezTo>
                  <a:lnTo>
                    <a:pt x="405" y="192"/>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7" name="Group 447">
              <a:extLst>
                <a:ext uri="{FF2B5EF4-FFF2-40B4-BE49-F238E27FC236}">
                  <a16:creationId xmlns:a16="http://schemas.microsoft.com/office/drawing/2014/main" id="{3D0E0360-9942-F46B-3665-BF50E2E25655}"/>
                </a:ext>
              </a:extLst>
            </p:cNvPr>
            <p:cNvGrpSpPr>
              <a:grpSpLocks noChangeAspect="1"/>
            </p:cNvGrpSpPr>
            <p:nvPr/>
          </p:nvGrpSpPr>
          <p:grpSpPr bwMode="auto">
            <a:xfrm>
              <a:off x="2848984" y="2329945"/>
              <a:ext cx="696128" cy="696128"/>
              <a:chOff x="5601" y="1820"/>
              <a:chExt cx="340" cy="340"/>
            </a:xfrm>
            <a:solidFill>
              <a:schemeClr val="accent2"/>
            </a:solidFill>
          </p:grpSpPr>
          <p:sp>
            <p:nvSpPr>
              <p:cNvPr id="59" name="Freeform 448">
                <a:extLst>
                  <a:ext uri="{FF2B5EF4-FFF2-40B4-BE49-F238E27FC236}">
                    <a16:creationId xmlns:a16="http://schemas.microsoft.com/office/drawing/2014/main" id="{1F0DC73F-4BDE-BE6E-B29B-81CA4C590068}"/>
                  </a:ext>
                </a:extLst>
              </p:cNvPr>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449">
                <a:extLst>
                  <a:ext uri="{FF2B5EF4-FFF2-40B4-BE49-F238E27FC236}">
                    <a16:creationId xmlns:a16="http://schemas.microsoft.com/office/drawing/2014/main" id="{25A48012-E352-FA1E-E618-0B39BA47835A}"/>
                  </a:ext>
                </a:extLst>
              </p:cNvPr>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5" name="Freeform 589">
              <a:extLst>
                <a:ext uri="{FF2B5EF4-FFF2-40B4-BE49-F238E27FC236}">
                  <a16:creationId xmlns:a16="http://schemas.microsoft.com/office/drawing/2014/main" id="{E7388F4C-1480-85C3-1710-73B58828AD5D}"/>
                </a:ext>
              </a:extLst>
            </p:cNvPr>
            <p:cNvSpPr>
              <a:spLocks noChangeAspect="1" noEditPoints="1"/>
            </p:cNvSpPr>
            <p:nvPr/>
          </p:nvSpPr>
          <p:spPr bwMode="auto">
            <a:xfrm>
              <a:off x="8304286" y="4325593"/>
              <a:ext cx="657451" cy="657451"/>
            </a:xfrm>
            <a:custGeom>
              <a:avLst/>
              <a:gdLst>
                <a:gd name="T0" fmla="*/ 384 w 512"/>
                <a:gd name="T1" fmla="*/ 157 h 512"/>
                <a:gd name="T2" fmla="*/ 384 w 512"/>
                <a:gd name="T3" fmla="*/ 349 h 512"/>
                <a:gd name="T4" fmla="*/ 266 w 512"/>
                <a:gd name="T5" fmla="*/ 348 h 512"/>
                <a:gd name="T6" fmla="*/ 266 w 512"/>
                <a:gd name="T7" fmla="*/ 157 h 512"/>
                <a:gd name="T8" fmla="*/ 384 w 512"/>
                <a:gd name="T9" fmla="*/ 157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405 w 512"/>
                <a:gd name="T21" fmla="*/ 149 h 512"/>
                <a:gd name="T22" fmla="*/ 398 w 512"/>
                <a:gd name="T23" fmla="*/ 139 h 512"/>
                <a:gd name="T24" fmla="*/ 256 w 512"/>
                <a:gd name="T25" fmla="*/ 138 h 512"/>
                <a:gd name="T26" fmla="*/ 114 w 512"/>
                <a:gd name="T27" fmla="*/ 139 h 512"/>
                <a:gd name="T28" fmla="*/ 106 w 512"/>
                <a:gd name="T29" fmla="*/ 149 h 512"/>
                <a:gd name="T30" fmla="*/ 106 w 512"/>
                <a:gd name="T31" fmla="*/ 362 h 512"/>
                <a:gd name="T32" fmla="*/ 111 w 512"/>
                <a:gd name="T33" fmla="*/ 371 h 512"/>
                <a:gd name="T34" fmla="*/ 121 w 512"/>
                <a:gd name="T35" fmla="*/ 372 h 512"/>
                <a:gd name="T36" fmla="*/ 253 w 512"/>
                <a:gd name="T37" fmla="*/ 373 h 512"/>
                <a:gd name="T38" fmla="*/ 256 w 512"/>
                <a:gd name="T39" fmla="*/ 373 h 512"/>
                <a:gd name="T40" fmla="*/ 260 w 512"/>
                <a:gd name="T41" fmla="*/ 372 h 512"/>
                <a:gd name="T42" fmla="*/ 260 w 512"/>
                <a:gd name="T43" fmla="*/ 372 h 512"/>
                <a:gd name="T44" fmla="*/ 391 w 512"/>
                <a:gd name="T45" fmla="*/ 373 h 512"/>
                <a:gd name="T46" fmla="*/ 401 w 512"/>
                <a:gd name="T47" fmla="*/ 371 h 512"/>
                <a:gd name="T48" fmla="*/ 405 w 512"/>
                <a:gd name="T49" fmla="*/ 362 h 512"/>
                <a:gd name="T50" fmla="*/ 405 w 512"/>
                <a:gd name="T51" fmla="*/ 149 h 512"/>
                <a:gd name="T52" fmla="*/ 128 w 512"/>
                <a:gd name="T53" fmla="*/ 157 h 512"/>
                <a:gd name="T54" fmla="*/ 128 w 512"/>
                <a:gd name="T55" fmla="*/ 348 h 512"/>
                <a:gd name="T56" fmla="*/ 245 w 512"/>
                <a:gd name="T57" fmla="*/ 349 h 512"/>
                <a:gd name="T58" fmla="*/ 245 w 512"/>
                <a:gd name="T59" fmla="*/ 157 h 512"/>
                <a:gd name="T60" fmla="*/ 128 w 512"/>
                <a:gd name="T61" fmla="*/ 15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384" y="157"/>
                  </a:moveTo>
                  <a:cubicBezTo>
                    <a:pt x="384" y="349"/>
                    <a:pt x="384" y="349"/>
                    <a:pt x="384" y="349"/>
                  </a:cubicBezTo>
                  <a:cubicBezTo>
                    <a:pt x="328" y="335"/>
                    <a:pt x="287" y="342"/>
                    <a:pt x="266" y="348"/>
                  </a:cubicBezTo>
                  <a:cubicBezTo>
                    <a:pt x="266" y="157"/>
                    <a:pt x="266" y="157"/>
                    <a:pt x="266" y="157"/>
                  </a:cubicBezTo>
                  <a:cubicBezTo>
                    <a:pt x="321" y="144"/>
                    <a:pt x="367" y="153"/>
                    <a:pt x="384" y="15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4"/>
                    <a:pt x="402" y="140"/>
                    <a:pt x="398" y="139"/>
                  </a:cubicBezTo>
                  <a:cubicBezTo>
                    <a:pt x="395" y="138"/>
                    <a:pt x="334" y="117"/>
                    <a:pt x="256" y="138"/>
                  </a:cubicBezTo>
                  <a:cubicBezTo>
                    <a:pt x="243" y="133"/>
                    <a:pt x="191" y="120"/>
                    <a:pt x="114" y="139"/>
                  </a:cubicBezTo>
                  <a:cubicBezTo>
                    <a:pt x="110" y="140"/>
                    <a:pt x="106" y="144"/>
                    <a:pt x="106" y="149"/>
                  </a:cubicBezTo>
                  <a:cubicBezTo>
                    <a:pt x="106" y="362"/>
                    <a:pt x="106" y="362"/>
                    <a:pt x="106" y="362"/>
                  </a:cubicBezTo>
                  <a:cubicBezTo>
                    <a:pt x="106" y="366"/>
                    <a:pt x="108" y="369"/>
                    <a:pt x="111" y="371"/>
                  </a:cubicBezTo>
                  <a:cubicBezTo>
                    <a:pt x="114" y="373"/>
                    <a:pt x="118" y="374"/>
                    <a:pt x="121" y="372"/>
                  </a:cubicBezTo>
                  <a:cubicBezTo>
                    <a:pt x="122" y="372"/>
                    <a:pt x="178" y="350"/>
                    <a:pt x="253" y="373"/>
                  </a:cubicBezTo>
                  <a:cubicBezTo>
                    <a:pt x="254" y="373"/>
                    <a:pt x="255" y="373"/>
                    <a:pt x="256" y="373"/>
                  </a:cubicBezTo>
                  <a:cubicBezTo>
                    <a:pt x="257" y="373"/>
                    <a:pt x="259" y="373"/>
                    <a:pt x="260" y="372"/>
                  </a:cubicBezTo>
                  <a:cubicBezTo>
                    <a:pt x="260" y="372"/>
                    <a:pt x="260" y="372"/>
                    <a:pt x="260" y="372"/>
                  </a:cubicBezTo>
                  <a:cubicBezTo>
                    <a:pt x="261" y="372"/>
                    <a:pt x="311" y="350"/>
                    <a:pt x="391" y="373"/>
                  </a:cubicBezTo>
                  <a:cubicBezTo>
                    <a:pt x="395" y="373"/>
                    <a:pt x="398" y="373"/>
                    <a:pt x="401" y="371"/>
                  </a:cubicBezTo>
                  <a:cubicBezTo>
                    <a:pt x="403" y="369"/>
                    <a:pt x="405" y="366"/>
                    <a:pt x="405" y="362"/>
                  </a:cubicBezTo>
                  <a:lnTo>
                    <a:pt x="405" y="149"/>
                  </a:lnTo>
                  <a:close/>
                  <a:moveTo>
                    <a:pt x="128" y="157"/>
                  </a:moveTo>
                  <a:cubicBezTo>
                    <a:pt x="128" y="348"/>
                    <a:pt x="128" y="348"/>
                    <a:pt x="128" y="348"/>
                  </a:cubicBezTo>
                  <a:cubicBezTo>
                    <a:pt x="149" y="342"/>
                    <a:pt x="192" y="336"/>
                    <a:pt x="245" y="349"/>
                  </a:cubicBezTo>
                  <a:cubicBezTo>
                    <a:pt x="245" y="157"/>
                    <a:pt x="245" y="157"/>
                    <a:pt x="245" y="157"/>
                  </a:cubicBezTo>
                  <a:cubicBezTo>
                    <a:pt x="229" y="153"/>
                    <a:pt x="187" y="144"/>
                    <a:pt x="128" y="157"/>
                  </a:cubicBez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6" name="Freeform 141">
              <a:extLst>
                <a:ext uri="{FF2B5EF4-FFF2-40B4-BE49-F238E27FC236}">
                  <a16:creationId xmlns:a16="http://schemas.microsoft.com/office/drawing/2014/main" id="{D775C617-2266-E24C-060D-298764202CDF}"/>
                </a:ext>
              </a:extLst>
            </p:cNvPr>
            <p:cNvSpPr>
              <a:spLocks noChangeAspect="1" noEditPoints="1"/>
            </p:cNvSpPr>
            <p:nvPr/>
          </p:nvSpPr>
          <p:spPr bwMode="auto">
            <a:xfrm>
              <a:off x="8053521" y="2191747"/>
              <a:ext cx="657450" cy="65745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Light"/>
                <a:ea typeface="+mn-ea"/>
                <a:cs typeface="+mn-cs"/>
              </a:endParaRPr>
            </a:p>
          </p:txBody>
        </p:sp>
      </p:grpSp>
    </p:spTree>
    <p:extLst>
      <p:ext uri="{BB962C8B-B14F-4D97-AF65-F5344CB8AC3E}">
        <p14:creationId xmlns:p14="http://schemas.microsoft.com/office/powerpoint/2010/main" val="384374948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dSxP2afx0S4jUk1jo7rGw"/>
</p:tagLst>
</file>

<file path=ppt/theme/theme1.xml><?xml version="1.0" encoding="utf-8"?>
<a:theme xmlns:a="http://schemas.openxmlformats.org/drawingml/2006/main" name="6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25049939-F45C-468E-9BFD-6DA761B8498D}" vid="{209F14B4-8B24-4C73-BD36-0068D8B1E23F}"/>
    </a:ext>
  </a:extLst>
</a:theme>
</file>

<file path=ppt/theme/theme2.xml><?xml version="1.0" encoding="utf-8"?>
<a:theme xmlns:a="http://schemas.openxmlformats.org/drawingml/2006/main" name="2_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3.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45</TotalTime>
  <Words>1441</Words>
  <Application>Microsoft Office PowerPoint</Application>
  <PresentationFormat>Widescreen</PresentationFormat>
  <Paragraphs>109</Paragraphs>
  <Slides>18</Slides>
  <Notes>1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30" baseType="lpstr">
      <vt:lpstr>Arial</vt:lpstr>
      <vt:lpstr>Book Antiqua</vt:lpstr>
      <vt:lpstr>Calibri</vt:lpstr>
      <vt:lpstr>Calibri Light</vt:lpstr>
      <vt:lpstr>DM Sans</vt:lpstr>
      <vt:lpstr>Verdana</vt:lpstr>
      <vt:lpstr>Wingdings</vt:lpstr>
      <vt:lpstr>Wingdings 2</vt:lpstr>
      <vt:lpstr>6_Deloitte Brand Theme</vt:lpstr>
      <vt:lpstr>2_Deloitte Brand Theme</vt:lpstr>
      <vt:lpstr>Deloitte Brand Theme</vt:lpstr>
      <vt:lpstr>think-cell Slide</vt:lpstr>
      <vt:lpstr>The Energy Sector of Liberia</vt:lpstr>
      <vt:lpstr>Content</vt:lpstr>
      <vt:lpstr>PowerPoint Presentation</vt:lpstr>
      <vt:lpstr>PowerPoint Presentation</vt:lpstr>
      <vt:lpstr>The Energy Sector of Liberia</vt:lpstr>
      <vt:lpstr>PowerPoint Presentation</vt:lpstr>
      <vt:lpstr>Contributions of Development Partners</vt:lpstr>
      <vt:lpstr>PowerPoint Presentation</vt:lpstr>
      <vt:lpstr>Why the Private Sector Needs to Invest</vt:lpstr>
      <vt:lpstr>PowerPoint Presentation</vt:lpstr>
      <vt:lpstr>Opportunities Amidst Challenges</vt:lpstr>
      <vt:lpstr>PowerPoint Presentation</vt:lpstr>
      <vt:lpstr>Necessary Regulations for Investment</vt:lpstr>
      <vt:lpstr>PowerPoint Presentation</vt:lpstr>
      <vt:lpstr>Deloitte’s Commitment</vt:lpstr>
      <vt:lpstr>Deloitte’s Commitment</vt:lpstr>
      <vt:lpstr>Deloitte’s Commit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aking Engagement Proposal</dc:title>
  <dc:creator>Puorideme, Sisley</dc:creator>
  <cp:lastModifiedBy>Biritwum, Eunice</cp:lastModifiedBy>
  <cp:revision>6</cp:revision>
  <dcterms:created xsi:type="dcterms:W3CDTF">2024-06-14T11:14:26Z</dcterms:created>
  <dcterms:modified xsi:type="dcterms:W3CDTF">2024-08-07T14:4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14T12:42:0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10ac381-7776-41cf-b9c7-610624203b5b</vt:lpwstr>
  </property>
  <property fmtid="{D5CDD505-2E9C-101B-9397-08002B2CF9AE}" pid="8" name="MSIP_Label_ea60d57e-af5b-4752-ac57-3e4f28ca11dc_ContentBits">
    <vt:lpwstr>0</vt:lpwstr>
  </property>
</Properties>
</file>